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7" r:id="rId4"/>
  </p:sldMasterIdLst>
  <p:notesMasterIdLst>
    <p:notesMasterId r:id="rId10"/>
  </p:notesMasterIdLst>
  <p:handoutMasterIdLst>
    <p:handoutMasterId r:id="rId11"/>
  </p:handoutMasterIdLst>
  <p:sldIdLst>
    <p:sldId id="257" r:id="rId5"/>
    <p:sldId id="300" r:id="rId6"/>
    <p:sldId id="308" r:id="rId7"/>
    <p:sldId id="293" r:id="rId8"/>
    <p:sldId id="278" r:id="rId9"/>
  </p:sldIdLst>
  <p:sldSz cx="9144000" cy="5143500" type="screen16x9"/>
  <p:notesSz cx="6797675" cy="9926638"/>
  <p:defaultTextStyle>
    <a:defPPr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9A0B"/>
    <a:srgbClr val="64A70B"/>
    <a:srgbClr val="000000"/>
    <a:srgbClr val="425563"/>
    <a:srgbClr val="009CA6"/>
    <a:srgbClr val="409FAB"/>
    <a:srgbClr val="7490A6"/>
    <a:srgbClr val="4FC3CB"/>
    <a:srgbClr val="334350"/>
    <a:srgbClr val="5A6E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269D01E-BC32-4049-B463-5C60D7B0CCD2}" styleName="Estilo temático 2 - Énfasis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5464" autoAdjust="0"/>
    <p:restoredTop sz="93152" autoAdjust="0"/>
  </p:normalViewPr>
  <p:slideViewPr>
    <p:cSldViewPr snapToGrid="0" snapToObjects="1" showGuides="1">
      <p:cViewPr varScale="1">
        <p:scale>
          <a:sx n="114" d="100"/>
          <a:sy n="114" d="100"/>
        </p:scale>
        <p:origin x="67" y="67"/>
      </p:cViewPr>
      <p:guideLst>
        <p:guide orient="horz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 showGuides="1">
      <p:cViewPr varScale="1">
        <p:scale>
          <a:sx n="105" d="100"/>
          <a:sy n="105" d="100"/>
        </p:scale>
        <p:origin x="-5144" y="-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6636900000000001"/>
          <c:y val="5.0000000000000001E-3"/>
          <c:w val="0.42863099999999998"/>
          <c:h val="0.98750000000000004"/>
        </c:manualLayout>
      </c:layout>
      <c:doughnut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1"/>
            </a:solidFill>
            <a:ln w="12700" cap="flat">
              <a:solidFill>
                <a:srgbClr val="FFFFFF"/>
              </a:solidFill>
              <a:prstDash val="solid"/>
              <a:miter lim="400000"/>
            </a:ln>
            <a:effectLst/>
          </c:spPr>
          <c:dPt>
            <c:idx val="0"/>
            <c:bubble3D val="0"/>
            <c:spPr>
              <a:solidFill>
                <a:srgbClr val="64A70B"/>
              </a:solidFill>
              <a:ln w="12700" cap="flat">
                <a:solidFill>
                  <a:srgbClr val="FFFFFF"/>
                </a:solidFill>
                <a:prstDash val="solid"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B356-466E-936B-B042E9C6917B}"/>
              </c:ext>
            </c:extLst>
          </c:dPt>
          <c:dPt>
            <c:idx val="1"/>
            <c:bubble3D val="0"/>
            <c:spPr>
              <a:solidFill>
                <a:schemeClr val="accent2">
                  <a:satOff val="-40116"/>
                  <a:lumOff val="16764"/>
                </a:schemeClr>
              </a:solidFill>
              <a:ln w="12700" cap="flat">
                <a:solidFill>
                  <a:srgbClr val="FFFFFF"/>
                </a:solidFill>
                <a:prstDash val="solid"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B356-466E-936B-B042E9C6917B}"/>
              </c:ext>
            </c:extLst>
          </c:dPt>
          <c:dPt>
            <c:idx val="2"/>
            <c:bubble3D val="0"/>
            <c:spPr>
              <a:solidFill>
                <a:srgbClr val="425563"/>
              </a:solidFill>
              <a:ln w="12700" cap="flat">
                <a:solidFill>
                  <a:srgbClr val="FFFFFF"/>
                </a:solidFill>
                <a:prstDash val="solid"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5-B356-466E-936B-B042E9C6917B}"/>
              </c:ext>
            </c:extLst>
          </c:dPt>
          <c:cat>
            <c:strRef>
              <c:f>Sheet1!$B$1:$D$1</c:f>
              <c:strCache>
                <c:ptCount val="3"/>
                <c:pt idx="0">
                  <c:v>TIS</c:v>
                </c:pt>
                <c:pt idx="1">
                  <c:v>Otros servicios de red</c:v>
                </c:pt>
                <c:pt idx="2">
                  <c:v>Radiodifusión y Servicios de Red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87</c:v>
                </c:pt>
                <c:pt idx="1">
                  <c:v>9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356-466E-936B-B042E9C691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19"/>
        <c:holeSize val="79"/>
      </c:doughnut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doughnut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rgbClr val="425563"/>
            </a:solidFill>
            <a:ln w="12700" cap="flat" cmpd="sng">
              <a:solidFill>
                <a:srgbClr val="FFFFFF"/>
              </a:solidFill>
              <a:prstDash val="solid"/>
              <a:miter lim="400000"/>
            </a:ln>
            <a:effectLst/>
          </c:spPr>
          <c:dPt>
            <c:idx val="0"/>
            <c:bubble3D val="0"/>
            <c:spPr>
              <a:solidFill>
                <a:srgbClr val="64A70B"/>
              </a:solidFill>
              <a:ln w="12700" cap="flat" cmpd="sng">
                <a:solidFill>
                  <a:srgbClr val="FFFFFF"/>
                </a:solidFill>
                <a:prstDash val="solid"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3AD1-49EF-BF48-6FBFB8570BA3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3AD1-49EF-BF48-6FBFB8570BA3}"/>
              </c:ext>
            </c:extLst>
          </c:dPt>
          <c:dPt>
            <c:idx val="2"/>
            <c:bubble3D val="0"/>
            <c:spPr>
              <a:solidFill>
                <a:srgbClr val="409FAB"/>
              </a:solidFill>
              <a:ln w="12700" cap="flat" cmpd="sng">
                <a:solidFill>
                  <a:srgbClr val="FFFFFF"/>
                </a:solidFill>
                <a:prstDash val="solid"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4-3AD1-49EF-BF48-6FBFB8570BA3}"/>
              </c:ext>
            </c:extLst>
          </c:dPt>
          <c:dPt>
            <c:idx val="3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2700" cap="flat" cmpd="sng">
                <a:solidFill>
                  <a:srgbClr val="FFFFFF"/>
                </a:solidFill>
                <a:prstDash val="solid"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5-3AD1-49EF-BF48-6FBFB8570BA3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6-3AD1-49EF-BF48-6FBFB8570BA3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7-3AD1-49EF-BF48-6FBFB8570BA3}"/>
              </c:ext>
            </c:extLst>
          </c:dPt>
          <c:cat>
            <c:strRef>
              <c:f>Sheet1!$B$1:$E$1</c:f>
              <c:strCache>
                <c:ptCount val="4"/>
                <c:pt idx="0">
                  <c:v>Francia</c:v>
                </c:pt>
                <c:pt idx="1">
                  <c:v>Spain</c:v>
                </c:pt>
                <c:pt idx="2">
                  <c:v>Francia</c:v>
                </c:pt>
                <c:pt idx="3">
                  <c:v>Italy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0.45</c:v>
                </c:pt>
                <c:pt idx="1">
                  <c:v>0.15</c:v>
                </c:pt>
                <c:pt idx="2">
                  <c:v>0.2</c:v>
                </c:pt>
                <c:pt idx="3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AD1-49EF-BF48-6FBFB8570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46"/>
        <c:holeSize val="79"/>
      </c:doughnut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solidFill>
      <a:schemeClr val="bg1"/>
    </a:solidFill>
    <a:ln cmpd="sng">
      <a:solidFill>
        <a:srgbClr val="FFFFFF"/>
      </a:solidFill>
    </a:ln>
    <a:effectLst/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545492" y="359010"/>
            <a:ext cx="5701124" cy="496332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es-ES" b="1" dirty="0">
              <a:solidFill>
                <a:srgbClr val="334350"/>
              </a:solidFill>
              <a:latin typeface="Calibri"/>
              <a:cs typeface="Calibri"/>
            </a:endParaRPr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545492" y="9568171"/>
            <a:ext cx="671376" cy="132876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pPr algn="l"/>
            <a:fld id="{812C10A6-5FC2-F946-A370-1B73ECB91F47}" type="datetimeFigureOut">
              <a:rPr lang="es-ES" sz="800" smtClean="0">
                <a:solidFill>
                  <a:srgbClr val="334350"/>
                </a:solidFill>
                <a:latin typeface="Calibri"/>
                <a:cs typeface="Calibri"/>
              </a:rPr>
              <a:pPr algn="l"/>
              <a:t>20/04/2022</a:t>
            </a:fld>
            <a:endParaRPr lang="es-ES" sz="800" dirty="0">
              <a:solidFill>
                <a:srgbClr val="334350"/>
              </a:solidFill>
              <a:latin typeface="Calibri"/>
              <a:cs typeface="Calibri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1313378" y="9568171"/>
            <a:ext cx="4505750" cy="13287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/>
            </a:lvl1pPr>
          </a:lstStyle>
          <a:p>
            <a:pPr algn="r"/>
            <a:endParaRPr lang="es-ES" sz="800" dirty="0">
              <a:solidFill>
                <a:srgbClr val="334350"/>
              </a:solidFill>
              <a:latin typeface="Calibri"/>
              <a:cs typeface="Calibri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5818416" y="9568171"/>
            <a:ext cx="428200" cy="1172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/>
            </a:lvl1pPr>
          </a:lstStyle>
          <a:p>
            <a:fld id="{A51DF855-7588-354A-89D5-0C0BED3FD71D}" type="slidenum">
              <a:rPr lang="es-ES" sz="700" smtClean="0">
                <a:solidFill>
                  <a:schemeClr val="accent2"/>
                </a:solidFill>
                <a:latin typeface="Calibri"/>
                <a:cs typeface="Calibri"/>
              </a:rPr>
              <a:t>‹Nº›</a:t>
            </a:fld>
            <a:endParaRPr lang="es-ES" sz="700" dirty="0">
              <a:solidFill>
                <a:schemeClr val="accent2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4762059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679768" y="359547"/>
            <a:ext cx="5568384" cy="496332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 b="1" i="0">
                <a:solidFill>
                  <a:srgbClr val="334350"/>
                </a:solidFill>
                <a:latin typeface="Calibri"/>
                <a:cs typeface="Calibri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679767" y="9567091"/>
            <a:ext cx="670847" cy="132876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800" b="0" i="0">
                <a:solidFill>
                  <a:srgbClr val="334350"/>
                </a:solidFill>
                <a:latin typeface="Calibri"/>
                <a:cs typeface="Calibri"/>
              </a:defRPr>
            </a:lvl1pPr>
          </a:lstStyle>
          <a:p>
            <a:fld id="{AC31415B-91C6-0943-B01C-4C283B143627}" type="datetimeFigureOut">
              <a:rPr lang="es-ES" smtClean="0"/>
              <a:pPr/>
              <a:t>20/04/2022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981075"/>
            <a:ext cx="6616700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951913"/>
            <a:ext cx="5568384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377377" y="9567091"/>
            <a:ext cx="4506805" cy="13287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 b="0" i="0">
                <a:solidFill>
                  <a:srgbClr val="334350"/>
                </a:solidFill>
                <a:latin typeface="Calibri"/>
                <a:cs typeface="Calibri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5819952" y="9567090"/>
            <a:ext cx="428200" cy="11724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>
                <a:solidFill>
                  <a:schemeClr val="accent2"/>
                </a:solidFill>
                <a:latin typeface="Calibri"/>
                <a:cs typeface="Calibri"/>
              </a:defRPr>
            </a:lvl1pPr>
          </a:lstStyle>
          <a:p>
            <a:fld id="{8238755D-6516-9A44-8792-EF3308DE49A5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9245527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Calibri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Calibri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Calibri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Calibri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Calibri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-223838" y="1065213"/>
            <a:ext cx="7185026" cy="4041775"/>
          </a:xfr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38755D-6516-9A44-8792-EF3308DE49A5}" type="slidenum">
              <a:rPr lang="es-ES" smtClean="0"/>
              <a:pPr/>
              <a:t>5</a:t>
            </a:fld>
            <a:endParaRPr lang="es-E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35564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2249810" y="1652819"/>
            <a:ext cx="5573172" cy="74015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s-ES" sz="2500" b="1" i="0" u="none" strike="noStrike" kern="1200" cap="none" spc="0" normalizeH="0" baseline="0" dirty="0">
                <a:ln>
                  <a:noFill/>
                </a:ln>
                <a:solidFill>
                  <a:srgbClr val="334350"/>
                </a:solidFill>
                <a:effectLst/>
                <a:uLnTx/>
                <a:uFillTx/>
                <a:latin typeface="+mj-lt"/>
                <a:ea typeface="+mj-ea"/>
                <a:cs typeface="Calibri"/>
              </a:defRPr>
            </a:lvl1pPr>
          </a:lstStyle>
          <a:p>
            <a:r>
              <a:rPr lang="en-US" dirty="0"/>
              <a:t>Click to edit chapter title of the presentation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2249809" y="2482928"/>
            <a:ext cx="5573172" cy="63288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s-ES" sz="22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modify the pattern sub-title style</a:t>
            </a:r>
            <a:endParaRPr lang="es-ES" dirty="0"/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3" hasCustomPrompt="1"/>
          </p:nvPr>
        </p:nvSpPr>
        <p:spPr>
          <a:xfrm>
            <a:off x="2249810" y="3334469"/>
            <a:ext cx="5573172" cy="2462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kumimoji="0" lang="es-ES_tradnl" sz="18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Calibri"/>
              </a:defRPr>
            </a:lvl1pPr>
            <a:lvl2pPr marL="457200" indent="0">
              <a:buNone/>
              <a:defRPr kumimoji="0" lang="es-ES_tradnl" sz="2000" b="1" i="0" u="none" strike="noStrike" kern="1200" cap="none" spc="0" normalizeH="0" baseline="0" dirty="0" smtClean="0">
                <a:ln>
                  <a:noFill/>
                </a:ln>
                <a:solidFill>
                  <a:srgbClr val="485B61"/>
                </a:solidFill>
                <a:effectLst/>
                <a:uLnTx/>
                <a:uFillTx/>
                <a:latin typeface="+mn-lt"/>
                <a:ea typeface="+mj-ea"/>
                <a:cs typeface="Arial"/>
              </a:defRPr>
            </a:lvl2pPr>
            <a:lvl3pPr marL="914400" indent="0">
              <a:buNone/>
              <a:defRPr kumimoji="0" lang="es-ES_tradnl" sz="2000" b="1" i="0" u="none" strike="noStrike" kern="1200" cap="none" spc="0" normalizeH="0" baseline="0" dirty="0" smtClean="0">
                <a:ln>
                  <a:noFill/>
                </a:ln>
                <a:solidFill>
                  <a:srgbClr val="485B61"/>
                </a:solidFill>
                <a:effectLst/>
                <a:uLnTx/>
                <a:uFillTx/>
                <a:latin typeface="+mn-lt"/>
                <a:ea typeface="+mj-ea"/>
                <a:cs typeface="Arial"/>
              </a:defRPr>
            </a:lvl3pPr>
            <a:lvl4pPr marL="1371600" indent="0">
              <a:buNone/>
              <a:defRPr kumimoji="0" lang="es-ES_tradnl" sz="2000" b="1" i="0" u="none" strike="noStrike" kern="1200" cap="none" spc="0" normalizeH="0" baseline="0" dirty="0" smtClean="0">
                <a:ln>
                  <a:noFill/>
                </a:ln>
                <a:solidFill>
                  <a:srgbClr val="485B61"/>
                </a:solidFill>
                <a:effectLst/>
                <a:uLnTx/>
                <a:uFillTx/>
                <a:latin typeface="+mn-lt"/>
                <a:ea typeface="+mj-ea"/>
                <a:cs typeface="Arial"/>
              </a:defRPr>
            </a:lvl4pPr>
          </a:lstStyle>
          <a:p>
            <a:pPr lvl="0"/>
            <a:r>
              <a:rPr lang="es-ES_tradnl" dirty="0" err="1"/>
              <a:t>Corporate</a:t>
            </a:r>
            <a:r>
              <a:rPr lang="es-ES_tradnl" dirty="0"/>
              <a:t> </a:t>
            </a:r>
            <a:r>
              <a:rPr lang="es-ES_tradnl" dirty="0" err="1"/>
              <a:t>Communications</a:t>
            </a:r>
            <a:r>
              <a:rPr lang="es-ES_tradnl" dirty="0"/>
              <a:t> Management</a:t>
            </a:r>
            <a:endParaRPr lang="es-ES" dirty="0"/>
          </a:p>
        </p:txBody>
      </p:sp>
      <p:sp>
        <p:nvSpPr>
          <p:cNvPr id="12" name="Marcador de texto 10"/>
          <p:cNvSpPr>
            <a:spLocks noGrp="1"/>
          </p:cNvSpPr>
          <p:nvPr>
            <p:ph type="body" sz="quarter" idx="14" hasCustomPrompt="1"/>
          </p:nvPr>
        </p:nvSpPr>
        <p:spPr>
          <a:xfrm>
            <a:off x="2249810" y="3580689"/>
            <a:ext cx="5573172" cy="108063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/>
              <a:buNone/>
              <a:tabLst/>
              <a:defRPr kumimoji="0" lang="es-ES_tradnl" sz="1500" b="0" i="1" u="none" strike="noStrike" kern="1200" cap="none" spc="0" normalizeH="0" baseline="0">
                <a:ln>
                  <a:noFill/>
                </a:ln>
                <a:solidFill>
                  <a:srgbClr val="334350"/>
                </a:solidFill>
                <a:effectLst/>
                <a:uLnTx/>
                <a:uFillTx/>
                <a:latin typeface="+mj-lt"/>
                <a:ea typeface="+mj-ea"/>
                <a:cs typeface="Calibri"/>
              </a:defRPr>
            </a:lvl1pPr>
            <a:lvl2pPr marL="3175" indent="0" algn="l">
              <a:buNone/>
              <a:defRPr kumimoji="0" lang="es-ES_tradnl" sz="1200" b="1" i="0" u="none" strike="noStrike" kern="1200" cap="none" spc="0" normalizeH="0" baseline="0" dirty="0" smtClean="0">
                <a:ln>
                  <a:noFill/>
                </a:ln>
                <a:solidFill>
                  <a:srgbClr val="485B61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2pPr>
            <a:lvl3pPr marL="914400" indent="0">
              <a:buNone/>
              <a:defRPr kumimoji="0" lang="es-ES_tradnl" sz="2000" b="1" i="0" u="none" strike="noStrike" kern="1200" cap="none" spc="0" normalizeH="0" baseline="0" dirty="0" smtClean="0">
                <a:ln>
                  <a:noFill/>
                </a:ln>
                <a:solidFill>
                  <a:srgbClr val="485B61"/>
                </a:solidFill>
                <a:effectLst/>
                <a:uLnTx/>
                <a:uFillTx/>
                <a:latin typeface="+mn-lt"/>
                <a:ea typeface="+mj-ea"/>
                <a:cs typeface="Arial"/>
              </a:defRPr>
            </a:lvl3pPr>
            <a:lvl4pPr marL="1371600" indent="0">
              <a:buNone/>
              <a:defRPr kumimoji="0" lang="es-ES_tradnl" sz="2000" b="1" i="0" u="none" strike="noStrike" kern="1200" cap="none" spc="0" normalizeH="0" baseline="0" dirty="0" smtClean="0">
                <a:ln>
                  <a:noFill/>
                </a:ln>
                <a:solidFill>
                  <a:srgbClr val="485B61"/>
                </a:solidFill>
                <a:effectLst/>
                <a:uLnTx/>
                <a:uFillTx/>
                <a:latin typeface="+mn-lt"/>
                <a:ea typeface="+mj-ea"/>
                <a:cs typeface="Arial"/>
              </a:defRPr>
            </a:lvl4pPr>
          </a:lstStyle>
          <a:p>
            <a:pPr marL="0" marR="0" lvl="0" indent="0" algn="l" defTabSz="4572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/>
              <a:buNone/>
              <a:tabLst/>
              <a:defRPr/>
            </a:pPr>
            <a:r>
              <a:rPr lang="es-ES_tradnl" dirty="0" err="1"/>
              <a:t>Speaker’s</a:t>
            </a:r>
            <a:r>
              <a:rPr lang="es-ES_tradnl" dirty="0"/>
              <a:t> </a:t>
            </a:r>
            <a:r>
              <a:rPr lang="es-ES_tradnl" dirty="0" err="1"/>
              <a:t>Name</a:t>
            </a:r>
            <a:r>
              <a:rPr lang="es-ES_tradnl" dirty="0"/>
              <a:t> </a:t>
            </a:r>
            <a:r>
              <a:rPr lang="es-ES_tradnl" dirty="0" err="1"/>
              <a:t>Surname</a:t>
            </a:r>
            <a:r>
              <a:rPr lang="es-ES_tradnl" dirty="0"/>
              <a:t> </a:t>
            </a:r>
          </a:p>
          <a:p>
            <a:pPr lvl="0"/>
            <a:endParaRPr lang="es-ES_tradnl" dirty="0"/>
          </a:p>
          <a:p>
            <a:pPr lvl="0"/>
            <a:endParaRPr lang="es-ES_tradnl" dirty="0"/>
          </a:p>
          <a:p>
            <a:pPr lvl="0"/>
            <a:endParaRPr lang="es-ES_tradnl" dirty="0"/>
          </a:p>
          <a:p>
            <a:pPr lvl="1"/>
            <a:endParaRPr lang="es-ES" dirty="0"/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4372" y="142272"/>
            <a:ext cx="1274356" cy="470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111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/>
          <p:cNvSpPr txBox="1"/>
          <p:nvPr userDrawn="1"/>
        </p:nvSpPr>
        <p:spPr>
          <a:xfrm>
            <a:off x="2216404" y="751772"/>
            <a:ext cx="433850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kumimoji="0" lang="es-ES" sz="3000" b="1" i="0" u="none" strike="noStrike" kern="1200" cap="none" spc="0" normalizeH="0" baseline="0" dirty="0" err="1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+mj-ea"/>
                <a:cs typeface="Calibri"/>
              </a:rPr>
              <a:t>Index</a:t>
            </a:r>
            <a:endParaRPr kumimoji="0" lang="es-ES" sz="3000" b="1" i="0" u="none" strike="noStrike" kern="1200" cap="none" spc="0" normalizeH="0" baseline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+mj-lt"/>
              <a:ea typeface="+mj-ea"/>
              <a:cs typeface="Calibri"/>
            </a:endParaRPr>
          </a:p>
        </p:txBody>
      </p:sp>
      <p:sp>
        <p:nvSpPr>
          <p:cNvPr id="10" name="Marcador de texto 9"/>
          <p:cNvSpPr>
            <a:spLocks noGrp="1"/>
          </p:cNvSpPr>
          <p:nvPr>
            <p:ph type="body" sz="quarter" idx="15" hasCustomPrompt="1"/>
          </p:nvPr>
        </p:nvSpPr>
        <p:spPr>
          <a:xfrm>
            <a:off x="2216833" y="1569454"/>
            <a:ext cx="5486400" cy="33623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61950" indent="-361950" algn="l" defTabSz="4445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AutoNum type="arabicPlain"/>
              <a:defRPr kumimoji="0" lang="es-ES_tradnl" sz="2300" b="1" i="0" u="none" strike="noStrike" kern="1200" cap="none" spc="0" normalizeH="0" baseline="0" dirty="0" smtClean="0">
                <a:ln>
                  <a:noFill/>
                </a:ln>
                <a:solidFill>
                  <a:srgbClr val="334350"/>
                </a:solidFill>
                <a:effectLst/>
                <a:uLnTx/>
                <a:uFillTx/>
                <a:latin typeface="+mn-lt"/>
                <a:ea typeface="+mj-ea"/>
                <a:cs typeface="Calibri"/>
              </a:defRPr>
            </a:lvl1pPr>
            <a:lvl2pPr marL="361950" indent="0" algn="l" defTabSz="457200" rtl="0" eaLnBrk="1" latinLnBrk="0" hangingPunct="1">
              <a:lnSpc>
                <a:spcPts val="2200"/>
              </a:lnSpc>
              <a:spcAft>
                <a:spcPts val="0"/>
              </a:spcAft>
              <a:buNone/>
              <a:defRPr kumimoji="0" lang="es-ES_tradnl" sz="1800" b="0" i="0" u="none" strike="noStrike" kern="1200" cap="none" spc="0" normalizeH="0" baseline="0" dirty="0" smtClean="0">
                <a:ln>
                  <a:noFill/>
                </a:ln>
                <a:solidFill>
                  <a:srgbClr val="334350"/>
                </a:solidFill>
                <a:effectLst/>
                <a:uLnTx/>
                <a:uFillTx/>
                <a:latin typeface="+mn-lt"/>
                <a:ea typeface="+mj-ea"/>
                <a:cs typeface="Calibri"/>
              </a:defRPr>
            </a:lvl2pPr>
            <a:lvl3pPr marL="361950" indent="-361950" algn="l" defTabSz="457200" rtl="0" eaLnBrk="1" latinLnBrk="0" hangingPunct="1">
              <a:lnSpc>
                <a:spcPts val="2000"/>
              </a:lnSpc>
              <a:defRPr kumimoji="0" lang="es-ES_tradnl" sz="1800" b="1" i="0" u="none" strike="noStrike" kern="1200" cap="none" spc="0" normalizeH="0" baseline="0" dirty="0" smtClean="0">
                <a:ln>
                  <a:noFill/>
                </a:ln>
                <a:solidFill>
                  <a:srgbClr val="485B61"/>
                </a:solidFill>
                <a:effectLst/>
                <a:uLnTx/>
                <a:uFillTx/>
                <a:latin typeface="+mn-lt"/>
                <a:ea typeface="+mj-ea"/>
                <a:cs typeface="Arial"/>
              </a:defRPr>
            </a:lvl3pPr>
            <a:lvl4pPr marL="0" algn="l" defTabSz="457200" rtl="0" eaLnBrk="1" latinLnBrk="0" hangingPunct="1">
              <a:lnSpc>
                <a:spcPts val="2000"/>
              </a:lnSpc>
              <a:defRPr kumimoji="0" lang="es-ES_tradnl" sz="1800" b="1" i="0" u="none" strike="noStrike" kern="1200" cap="none" spc="0" normalizeH="0" baseline="0" dirty="0" smtClean="0">
                <a:ln>
                  <a:noFill/>
                </a:ln>
                <a:solidFill>
                  <a:srgbClr val="485B61"/>
                </a:solidFill>
                <a:effectLst/>
                <a:uLnTx/>
                <a:uFillTx/>
                <a:latin typeface="+mn-lt"/>
                <a:ea typeface="+mj-ea"/>
                <a:cs typeface="Arial"/>
              </a:defRPr>
            </a:lvl4pPr>
            <a:lvl5pPr marL="0" algn="l" defTabSz="457200" rtl="0" eaLnBrk="1" latinLnBrk="0" hangingPunct="1">
              <a:lnSpc>
                <a:spcPts val="2000"/>
              </a:lnSpc>
              <a:defRPr kumimoji="0" lang="es-ES" sz="1800" b="1" i="0" u="none" strike="noStrike" kern="1200" cap="none" spc="0" normalizeH="0" baseline="0" dirty="0">
                <a:ln>
                  <a:noFill/>
                </a:ln>
                <a:solidFill>
                  <a:srgbClr val="485B61"/>
                </a:solidFill>
                <a:effectLst/>
                <a:uLnTx/>
                <a:uFillTx/>
                <a:latin typeface="+mn-lt"/>
                <a:ea typeface="+mj-ea"/>
                <a:cs typeface="Arial"/>
              </a:defRPr>
            </a:lvl5pPr>
            <a:lvl6pPr marL="361950" indent="0" algn="l" defTabSz="457200" rtl="0" eaLnBrk="1" latinLnBrk="0" hangingPunct="1">
              <a:lnSpc>
                <a:spcPts val="1800"/>
              </a:lnSpc>
              <a:spcBef>
                <a:spcPct val="20000"/>
              </a:spcBef>
              <a:buFont typeface="Arial"/>
              <a:buNone/>
              <a:defRPr kumimoji="0" lang="es-ES" sz="1600" b="0" i="0" u="none" strike="noStrike" kern="1200" cap="none" spc="0" normalizeH="0" baseline="0" dirty="0" smtClean="0">
                <a:ln>
                  <a:noFill/>
                </a:ln>
                <a:solidFill>
                  <a:srgbClr val="485B61"/>
                </a:solidFill>
                <a:effectLst/>
                <a:uLnTx/>
                <a:uFillTx/>
                <a:latin typeface="Verdana"/>
                <a:ea typeface="+mj-ea"/>
                <a:cs typeface="Verdana"/>
              </a:defRPr>
            </a:lvl6pPr>
          </a:lstStyle>
          <a:p>
            <a:pPr>
              <a:lnSpc>
                <a:spcPts val="2800"/>
              </a:lnSpc>
              <a:spcAft>
                <a:spcPts val="0"/>
              </a:spcAft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section</a:t>
            </a:r>
            <a:r>
              <a:rPr lang="es-ES" dirty="0"/>
              <a:t> 1. </a:t>
            </a:r>
            <a:r>
              <a:rPr lang="es-ES" dirty="0" err="1"/>
              <a:t>Level</a:t>
            </a:r>
            <a:r>
              <a:rPr lang="es-ES" dirty="0"/>
              <a:t> 1 </a:t>
            </a:r>
            <a:r>
              <a:rPr lang="es-ES" dirty="0" err="1"/>
              <a:t>text</a:t>
            </a:r>
            <a:endParaRPr lang="es-ES" dirty="0"/>
          </a:p>
          <a:p>
            <a:pPr lvl="1"/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Sub-title of section 1. Level 2 text</a:t>
            </a:r>
            <a:r>
              <a:rPr lang="es-ES" dirty="0"/>
              <a:t> </a:t>
            </a:r>
          </a:p>
          <a:p>
            <a:pPr lvl="1"/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Sub-title of section 1. Level 2 text</a:t>
            </a:r>
            <a:r>
              <a:rPr lang="es-ES" dirty="0"/>
              <a:t> </a:t>
            </a:r>
          </a:p>
          <a:p>
            <a:pPr lvl="1"/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Sub-title of section 1. Level 2 text</a:t>
            </a:r>
            <a:r>
              <a:rPr lang="es-ES" dirty="0"/>
              <a:t> </a:t>
            </a:r>
          </a:p>
          <a:p>
            <a:pPr lvl="1"/>
            <a:endParaRPr lang="es-ES" dirty="0"/>
          </a:p>
          <a:p>
            <a:pPr>
              <a:lnSpc>
                <a:spcPts val="2800"/>
              </a:lnSpc>
              <a:spcAft>
                <a:spcPts val="0"/>
              </a:spcAft>
            </a:pPr>
            <a:r>
              <a:rPr lang="en-GB" spc="-10" dirty="0">
                <a:latin typeface="Calibri" panose="020F0502020204030204" pitchFamily="34" charset="0"/>
                <a:ea typeface="Calibri" panose="020F0502020204030204" pitchFamily="34" charset="0"/>
              </a:rPr>
              <a:t>Title of section 2. Level 1 text</a:t>
            </a:r>
            <a:endParaRPr lang="es-ES" spc="-1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/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Sub-title of section 2. Level 2 text</a:t>
            </a:r>
            <a:endParaRPr lang="es-ES" sz="8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/>
            <a:endParaRPr lang="es-ES" dirty="0"/>
          </a:p>
          <a:p>
            <a:pPr>
              <a:lnSpc>
                <a:spcPts val="2800"/>
              </a:lnSpc>
              <a:spcAft>
                <a:spcPts val="0"/>
              </a:spcAft>
            </a:pPr>
            <a:r>
              <a:rPr lang="en-GB" spc="-10" dirty="0">
                <a:latin typeface="Calibri" panose="020F0502020204030204" pitchFamily="34" charset="0"/>
                <a:ea typeface="Calibri" panose="020F0502020204030204" pitchFamily="34" charset="0"/>
              </a:rPr>
              <a:t>Title of section 3. Level 1 text</a:t>
            </a:r>
            <a:endParaRPr lang="es-ES" spc="-1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412" y="161271"/>
            <a:ext cx="654992" cy="242062"/>
          </a:xfrm>
          <a:prstGeom prst="rect">
            <a:avLst/>
          </a:prstGeom>
        </p:spPr>
      </p:pic>
      <p:pic>
        <p:nvPicPr>
          <p:cNvPr id="11" name="Imagen 10"/>
          <p:cNvPicPr preferRelativeResize="0">
            <a:picLocks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262" b="-1"/>
          <a:stretch/>
        </p:blipFill>
        <p:spPr>
          <a:xfrm>
            <a:off x="0" y="5044440"/>
            <a:ext cx="9147600" cy="105713"/>
          </a:xfrm>
          <a:prstGeom prst="rect">
            <a:avLst/>
          </a:prstGeom>
        </p:spPr>
      </p:pic>
      <p:sp>
        <p:nvSpPr>
          <p:cNvPr id="13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347122" y="5047114"/>
            <a:ext cx="431282" cy="107722"/>
          </a:xfrm>
          <a:prstGeom prst="rect">
            <a:avLst/>
          </a:prstGeom>
        </p:spPr>
        <p:txBody>
          <a:bodyPr vert="horz" wrap="square" lIns="91440" tIns="0" rIns="0" bIns="0" rtlCol="0" anchor="ctr">
            <a:spAutoFit/>
          </a:bodyPr>
          <a:lstStyle>
            <a:lvl1pPr algn="r">
              <a:defRPr sz="700">
                <a:solidFill>
                  <a:srgbClr val="FFFFFF"/>
                </a:solidFill>
                <a:latin typeface="+mn-lt"/>
              </a:defRPr>
            </a:lvl1pPr>
          </a:lstStyle>
          <a:p>
            <a:fld id="{2941B5C0-9ECD-9442-B27B-965BFC2148CE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4" name="Marcador de pie de página 4">
            <a:extLst>
              <a:ext uri="{FF2B5EF4-FFF2-40B4-BE49-F238E27FC236}">
                <a16:creationId xmlns:a16="http://schemas.microsoft.com/office/drawing/2014/main" id="{C121C0C3-E846-48A7-8A5C-EEEDACB05662}"/>
              </a:ext>
            </a:extLst>
          </p:cNvPr>
          <p:cNvSpPr txBox="1">
            <a:spLocks/>
          </p:cNvSpPr>
          <p:nvPr userDrawn="1"/>
        </p:nvSpPr>
        <p:spPr>
          <a:xfrm>
            <a:off x="352430" y="5046844"/>
            <a:ext cx="4051300" cy="1038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sz="675" dirty="0"/>
              <a:t>Introducing Cellnex,</a:t>
            </a:r>
            <a:r>
              <a:rPr lang="en-GB" sz="675" baseline="0" dirty="0"/>
              <a:t> April 2022</a:t>
            </a:r>
            <a:r>
              <a:rPr lang="en-GB" sz="675" dirty="0"/>
              <a:t> </a:t>
            </a:r>
            <a:endParaRPr lang="en-GB" sz="675" b="1" baseline="30000" dirty="0">
              <a:latin typeface="+mj-lt"/>
              <a:ea typeface="+mj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07586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3684964" y="1833823"/>
            <a:ext cx="4015092" cy="74015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s-ES" sz="3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Calibri"/>
              </a:defRPr>
            </a:lvl1pPr>
          </a:lstStyle>
          <a:p>
            <a:r>
              <a:rPr lang="en-US" dirty="0"/>
              <a:t>Click to edit chapter title</a:t>
            </a:r>
            <a:endParaRPr lang="es-ES" dirty="0"/>
          </a:p>
        </p:txBody>
      </p:sp>
      <p:sp>
        <p:nvSpPr>
          <p:cNvPr id="12" name="Marcador de texto 10"/>
          <p:cNvSpPr>
            <a:spLocks noGrp="1"/>
          </p:cNvSpPr>
          <p:nvPr>
            <p:ph type="body" sz="quarter" idx="14" hasCustomPrompt="1"/>
          </p:nvPr>
        </p:nvSpPr>
        <p:spPr>
          <a:xfrm>
            <a:off x="2659218" y="1877244"/>
            <a:ext cx="872339" cy="726432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r">
              <a:buNone/>
              <a:defRPr kumimoji="0" lang="es-ES_tradnl" sz="8000" b="1" i="0" u="none" strike="noStrike" kern="1200" cap="none" spc="0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Calibri"/>
              </a:defRPr>
            </a:lvl1pPr>
            <a:lvl2pPr marL="3175" indent="0" algn="l">
              <a:buNone/>
              <a:defRPr kumimoji="0" lang="es-ES_tradnl" sz="1200" b="1" i="0" u="none" strike="noStrike" kern="1200" cap="none" spc="0" normalizeH="0" baseline="0" dirty="0" smtClean="0">
                <a:ln>
                  <a:noFill/>
                </a:ln>
                <a:solidFill>
                  <a:srgbClr val="485B61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2pPr>
            <a:lvl3pPr marL="914400" indent="0">
              <a:buNone/>
              <a:defRPr kumimoji="0" lang="es-ES_tradnl" sz="2000" b="1" i="0" u="none" strike="noStrike" kern="1200" cap="none" spc="0" normalizeH="0" baseline="0" dirty="0" smtClean="0">
                <a:ln>
                  <a:noFill/>
                </a:ln>
                <a:solidFill>
                  <a:srgbClr val="485B61"/>
                </a:solidFill>
                <a:effectLst/>
                <a:uLnTx/>
                <a:uFillTx/>
                <a:latin typeface="+mn-lt"/>
                <a:ea typeface="+mj-ea"/>
                <a:cs typeface="Arial"/>
              </a:defRPr>
            </a:lvl3pPr>
            <a:lvl4pPr marL="1371600" indent="0">
              <a:buNone/>
              <a:defRPr kumimoji="0" lang="es-ES_tradnl" sz="2000" b="1" i="0" u="none" strike="noStrike" kern="1200" cap="none" spc="0" normalizeH="0" baseline="0" dirty="0" smtClean="0">
                <a:ln>
                  <a:noFill/>
                </a:ln>
                <a:solidFill>
                  <a:srgbClr val="485B61"/>
                </a:solidFill>
                <a:effectLst/>
                <a:uLnTx/>
                <a:uFillTx/>
                <a:latin typeface="+mn-lt"/>
                <a:ea typeface="+mj-ea"/>
                <a:cs typeface="Arial"/>
              </a:defRPr>
            </a:lvl4pPr>
          </a:lstStyle>
          <a:p>
            <a:pPr lvl="0"/>
            <a:r>
              <a:rPr lang="es-ES_tradnl" dirty="0"/>
              <a:t>2</a:t>
            </a:r>
          </a:p>
          <a:p>
            <a:pPr lvl="0"/>
            <a:endParaRPr lang="es-ES_tradnl" dirty="0"/>
          </a:p>
          <a:p>
            <a:pPr lvl="0"/>
            <a:endParaRPr lang="es-ES_tradnl" dirty="0"/>
          </a:p>
          <a:p>
            <a:pPr lvl="0"/>
            <a:endParaRPr lang="es-ES_tradnl" dirty="0"/>
          </a:p>
          <a:p>
            <a:pPr lvl="1"/>
            <a:endParaRPr lang="es-ES" dirty="0"/>
          </a:p>
        </p:txBody>
      </p:sp>
      <p:pic>
        <p:nvPicPr>
          <p:cNvPr id="8" name="Imagen 7"/>
          <p:cNvPicPr preferRelativeResize="0"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262" b="-1"/>
          <a:stretch/>
        </p:blipFill>
        <p:spPr>
          <a:xfrm>
            <a:off x="0" y="5044440"/>
            <a:ext cx="9147600" cy="105713"/>
          </a:xfrm>
          <a:prstGeom prst="rect">
            <a:avLst/>
          </a:prstGeom>
        </p:spPr>
      </p:pic>
      <p:sp>
        <p:nvSpPr>
          <p:cNvPr id="11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347122" y="5037589"/>
            <a:ext cx="431282" cy="107722"/>
          </a:xfrm>
          <a:prstGeom prst="rect">
            <a:avLst/>
          </a:prstGeom>
        </p:spPr>
        <p:txBody>
          <a:bodyPr vert="horz" wrap="square" lIns="91440" tIns="0" rIns="0" bIns="0" rtlCol="0" anchor="ctr">
            <a:spAutoFit/>
          </a:bodyPr>
          <a:lstStyle>
            <a:lvl1pPr algn="r">
              <a:defRPr sz="700">
                <a:solidFill>
                  <a:srgbClr val="FFFFFF"/>
                </a:solidFill>
                <a:latin typeface="+mn-lt"/>
              </a:defRPr>
            </a:lvl1pPr>
          </a:lstStyle>
          <a:p>
            <a:fld id="{2941B5C0-9ECD-9442-B27B-965BFC2148CE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7" name="Marcador de pie de página 4">
            <a:extLst>
              <a:ext uri="{FF2B5EF4-FFF2-40B4-BE49-F238E27FC236}">
                <a16:creationId xmlns:a16="http://schemas.microsoft.com/office/drawing/2014/main" id="{EE83CD6F-6B4F-4626-95E0-2B05DEAF9166}"/>
              </a:ext>
            </a:extLst>
          </p:cNvPr>
          <p:cNvSpPr txBox="1">
            <a:spLocks/>
          </p:cNvSpPr>
          <p:nvPr userDrawn="1"/>
        </p:nvSpPr>
        <p:spPr>
          <a:xfrm>
            <a:off x="352430" y="5046844"/>
            <a:ext cx="4051300" cy="1038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sz="675" dirty="0"/>
              <a:t>Introducing Cellnex,</a:t>
            </a:r>
            <a:r>
              <a:rPr lang="en-GB" sz="675" baseline="0" dirty="0"/>
              <a:t> April 2022</a:t>
            </a:r>
            <a:r>
              <a:rPr lang="en-GB" sz="675" dirty="0"/>
              <a:t> </a:t>
            </a:r>
            <a:endParaRPr lang="en-GB" sz="675" b="1" baseline="30000" dirty="0">
              <a:latin typeface="+mj-lt"/>
              <a:ea typeface="+mj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100949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te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412" y="161271"/>
            <a:ext cx="654992" cy="242062"/>
          </a:xfrm>
          <a:prstGeom prst="rect">
            <a:avLst/>
          </a:prstGeom>
        </p:spPr>
      </p:pic>
      <p:pic>
        <p:nvPicPr>
          <p:cNvPr id="3" name="Imagen 15">
            <a:extLst>
              <a:ext uri="{FF2B5EF4-FFF2-40B4-BE49-F238E27FC236}">
                <a16:creationId xmlns:a16="http://schemas.microsoft.com/office/drawing/2014/main" id="{C944881C-0780-4DD9-8151-6455780BB125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055"/>
          <a:stretch/>
        </p:blipFill>
        <p:spPr>
          <a:xfrm>
            <a:off x="0" y="5048251"/>
            <a:ext cx="9147600" cy="102203"/>
          </a:xfrm>
          <a:prstGeom prst="rect">
            <a:avLst/>
          </a:prstGeom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F6C30E69-D92D-4465-B567-17A23A2D70D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657206" y="4927478"/>
            <a:ext cx="218630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eaLnBrk="0" hangingPunct="0">
              <a:spcBef>
                <a:spcPct val="0"/>
              </a:spcBef>
            </a:pPr>
            <a:fld id="{CA48D800-1282-4793-80DF-9F8E83675139}" type="slidenum">
              <a:rPr lang="en-US" sz="525" smtClean="0">
                <a:solidFill>
                  <a:schemeClr val="bg1"/>
                </a:solidFill>
                <a:latin typeface="+mn-lt"/>
              </a:rPr>
              <a:pPr algn="r" eaLnBrk="0" hangingPunct="0">
                <a:spcBef>
                  <a:spcPct val="0"/>
                </a:spcBef>
              </a:pPr>
              <a:t>‹Nº›</a:t>
            </a:fld>
            <a:endParaRPr lang="en-US" sz="525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Marcador de pie de página 4">
            <a:extLst>
              <a:ext uri="{FF2B5EF4-FFF2-40B4-BE49-F238E27FC236}">
                <a16:creationId xmlns:a16="http://schemas.microsoft.com/office/drawing/2014/main" id="{482D8263-B645-44E2-9D7B-558ABEDF6783}"/>
              </a:ext>
            </a:extLst>
          </p:cNvPr>
          <p:cNvSpPr txBox="1">
            <a:spLocks/>
          </p:cNvSpPr>
          <p:nvPr userDrawn="1"/>
        </p:nvSpPr>
        <p:spPr>
          <a:xfrm>
            <a:off x="352430" y="5046844"/>
            <a:ext cx="4051300" cy="1038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sz="675" dirty="0"/>
              <a:t>Introducing Cellnex,</a:t>
            </a:r>
            <a:r>
              <a:rPr lang="en-GB" sz="675" baseline="0" dirty="0"/>
              <a:t> April 2022</a:t>
            </a:r>
            <a:r>
              <a:rPr lang="en-GB" sz="675" dirty="0"/>
              <a:t> </a:t>
            </a:r>
            <a:endParaRPr lang="en-GB" sz="675" b="1" baseline="30000" dirty="0">
              <a:latin typeface="+mj-lt"/>
              <a:ea typeface="+mj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632905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llnex at a Gl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endParaRPr lang="en-US" sz="1575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2247" y="592962"/>
            <a:ext cx="8440615" cy="55364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US" noProof="0" dirty="0"/>
              <a:t>Hello, please insert your Action title her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2246" y="4739847"/>
            <a:ext cx="8440615" cy="1225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675" noProof="0" dirty="0" smtClean="0"/>
            </a:lvl1pPr>
          </a:lstStyle>
          <a:p>
            <a:pPr lvl="0">
              <a:lnSpc>
                <a:spcPts val="900"/>
              </a:lnSpc>
              <a:spcAft>
                <a:spcPts val="0"/>
              </a:spcAft>
            </a:pPr>
            <a:r>
              <a:rPr lang="en-US" noProof="0" dirty="0"/>
              <a:t>Source: Complete if require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BFB8CFB-4E7A-4928-800B-C4CC712E2EB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2247" y="1402631"/>
            <a:ext cx="8440615" cy="3283669"/>
          </a:xfrm>
          <a:prstGeom prst="rect">
            <a:avLst/>
          </a:prstGeom>
          <a:ln w="12700">
            <a:noFill/>
          </a:ln>
        </p:spPr>
        <p:txBody>
          <a:bodyPr>
            <a:noAutofit/>
          </a:bodyPr>
          <a:lstStyle>
            <a:lvl1pPr>
              <a:defRPr sz="1247"/>
            </a:lvl1pPr>
            <a:lvl2pPr marL="186842" indent="-185743">
              <a:buClr>
                <a:schemeClr val="accent1"/>
              </a:buClr>
              <a:buFont typeface="Wingdings" panose="05000000000000000000" pitchFamily="2" charset="2"/>
              <a:buChar char="§"/>
              <a:defRPr sz="1247"/>
            </a:lvl2pPr>
            <a:lvl3pPr marL="374782" indent="-187940">
              <a:buClr>
                <a:schemeClr val="accent1"/>
              </a:buClr>
              <a:buFont typeface="Calibri" panose="020F0502020204030204" pitchFamily="34" charset="0"/>
              <a:buChar char="–"/>
              <a:defRPr sz="1247"/>
            </a:lvl3pPr>
            <a:lvl4pPr marL="560783" indent="-186928">
              <a:buClr>
                <a:schemeClr val="accent1"/>
              </a:buClr>
              <a:buFont typeface="Arial" panose="020B0604020202020204" pitchFamily="34" charset="0"/>
              <a:buChar char="•"/>
              <a:defRPr sz="1247"/>
            </a:lvl4pPr>
            <a:lvl5pPr marL="775096" indent="-214313">
              <a:buFont typeface="Courier New" panose="02070309020205020404" pitchFamily="49" charset="0"/>
              <a:buChar char="o"/>
              <a:defRPr sz="1247"/>
            </a:lvl5pPr>
            <a:lvl6pPr>
              <a:defRPr sz="1247"/>
            </a:lvl6pPr>
            <a:lvl7pPr>
              <a:defRPr sz="1247"/>
            </a:lvl7pPr>
            <a:lvl8pPr>
              <a:defRPr sz="1247"/>
            </a:lvl8pPr>
            <a:lvl9pPr>
              <a:defRPr sz="1247"/>
            </a:lvl9pPr>
          </a:lstStyle>
          <a:p>
            <a:pPr lvl="0"/>
            <a:r>
              <a:rPr lang="en-US" noProof="0" dirty="0"/>
              <a:t>Level 0</a:t>
            </a:r>
          </a:p>
          <a:p>
            <a:pPr lvl="1"/>
            <a:r>
              <a:rPr lang="en-US" noProof="0" dirty="0"/>
              <a:t>Level 1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  <a:p>
            <a:pPr lvl="4"/>
            <a:r>
              <a:rPr lang="en-US" noProof="0" dirty="0"/>
              <a:t>Level 4</a:t>
            </a:r>
          </a:p>
        </p:txBody>
      </p:sp>
      <p:pic>
        <p:nvPicPr>
          <p:cNvPr id="18" name="Imagen 15">
            <a:extLst>
              <a:ext uri="{FF2B5EF4-FFF2-40B4-BE49-F238E27FC236}">
                <a16:creationId xmlns:a16="http://schemas.microsoft.com/office/drawing/2014/main" id="{C944881C-0780-4DD9-8151-6455780BB125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055"/>
          <a:stretch/>
        </p:blipFill>
        <p:spPr>
          <a:xfrm>
            <a:off x="0" y="5048251"/>
            <a:ext cx="9147600" cy="102203"/>
          </a:xfrm>
          <a:prstGeom prst="rect">
            <a:avLst/>
          </a:prstGeom>
        </p:spPr>
      </p:pic>
      <p:sp>
        <p:nvSpPr>
          <p:cNvPr id="19" name="Rectangle 7">
            <a:extLst>
              <a:ext uri="{FF2B5EF4-FFF2-40B4-BE49-F238E27FC236}">
                <a16:creationId xmlns:a16="http://schemas.microsoft.com/office/drawing/2014/main" id="{F6C30E69-D92D-4465-B567-17A23A2D70D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657206" y="4927478"/>
            <a:ext cx="218630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eaLnBrk="0" hangingPunct="0">
              <a:spcBef>
                <a:spcPct val="0"/>
              </a:spcBef>
            </a:pPr>
            <a:fld id="{CA48D800-1282-4793-80DF-9F8E83675139}" type="slidenum">
              <a:rPr lang="en-US" sz="525" smtClean="0">
                <a:solidFill>
                  <a:schemeClr val="bg1"/>
                </a:solidFill>
                <a:latin typeface="+mn-lt"/>
              </a:rPr>
              <a:pPr algn="r" eaLnBrk="0" hangingPunct="0">
                <a:spcBef>
                  <a:spcPct val="0"/>
                </a:spcBef>
              </a:pPr>
              <a:t>‹Nº›</a:t>
            </a:fld>
            <a:endParaRPr lang="en-US" sz="525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Imagen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9651" y="123172"/>
            <a:ext cx="578421" cy="213764"/>
          </a:xfrm>
          <a:prstGeom prst="rect">
            <a:avLst/>
          </a:prstGeom>
        </p:spPr>
      </p:pic>
      <p:sp>
        <p:nvSpPr>
          <p:cNvPr id="12" name="Marcador de pie de página 4"/>
          <p:cNvSpPr txBox="1">
            <a:spLocks/>
          </p:cNvSpPr>
          <p:nvPr userDrawn="1"/>
        </p:nvSpPr>
        <p:spPr>
          <a:xfrm>
            <a:off x="352430" y="5046844"/>
            <a:ext cx="4051300" cy="1038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sz="675" dirty="0"/>
              <a:t>Introducing Cellnex,</a:t>
            </a:r>
            <a:r>
              <a:rPr lang="en-GB" sz="675" baseline="0" dirty="0"/>
              <a:t> April 2022</a:t>
            </a:r>
            <a:r>
              <a:rPr lang="en-GB" sz="675" dirty="0"/>
              <a:t> </a:t>
            </a:r>
            <a:endParaRPr lang="en-GB" sz="675" b="1" baseline="30000" dirty="0">
              <a:latin typeface="+mj-lt"/>
              <a:ea typeface="+mj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699241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ítulo 1"/>
          <p:cNvSpPr>
            <a:spLocks noGrp="1"/>
          </p:cNvSpPr>
          <p:nvPr>
            <p:ph type="title"/>
          </p:nvPr>
        </p:nvSpPr>
        <p:spPr>
          <a:xfrm>
            <a:off x="575731" y="231380"/>
            <a:ext cx="8202672" cy="47828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s-ES_tradnl" dirty="0" err="1"/>
              <a:t>Click</a:t>
            </a:r>
            <a:r>
              <a:rPr lang="es-ES_tradnl" dirty="0"/>
              <a:t> to </a:t>
            </a:r>
            <a:r>
              <a:rPr lang="es-ES_tradnl" dirty="0" err="1"/>
              <a:t>edit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endParaRPr lang="es-ES" dirty="0"/>
          </a:p>
        </p:txBody>
      </p:sp>
      <p:sp>
        <p:nvSpPr>
          <p:cNvPr id="8" name="Marcador de texto 2"/>
          <p:cNvSpPr>
            <a:spLocks noGrp="1"/>
          </p:cNvSpPr>
          <p:nvPr>
            <p:ph type="body" idx="1"/>
          </p:nvPr>
        </p:nvSpPr>
        <p:spPr>
          <a:xfrm>
            <a:off x="575733" y="891000"/>
            <a:ext cx="8202671" cy="372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z="1600" dirty="0"/>
              <a:t>Click to modify the pattern text style</a:t>
            </a:r>
            <a:endParaRPr lang="es-ES_tradnl" sz="1600" dirty="0"/>
          </a:p>
          <a:p>
            <a:pPr lvl="1"/>
            <a:r>
              <a:rPr lang="es-ES_tradnl" sz="1600" dirty="0" err="1"/>
              <a:t>Second</a:t>
            </a:r>
            <a:r>
              <a:rPr lang="es-ES_tradnl" sz="1600" dirty="0"/>
              <a:t> </a:t>
            </a:r>
            <a:r>
              <a:rPr lang="es-ES_tradnl" sz="1600" dirty="0" err="1"/>
              <a:t>level</a:t>
            </a:r>
            <a:endParaRPr lang="es-ES_tradnl" sz="1600" dirty="0"/>
          </a:p>
          <a:p>
            <a:pPr lvl="2"/>
            <a:r>
              <a:rPr lang="es-ES_tradnl" sz="1400" dirty="0" err="1"/>
              <a:t>Third</a:t>
            </a:r>
            <a:r>
              <a:rPr lang="es-ES_tradnl" sz="1400" dirty="0"/>
              <a:t> </a:t>
            </a:r>
            <a:r>
              <a:rPr lang="es-ES_tradnl" sz="1400" dirty="0" err="1"/>
              <a:t>level</a:t>
            </a:r>
            <a:endParaRPr lang="es-ES_tradnl" sz="1400" dirty="0"/>
          </a:p>
          <a:p>
            <a:pPr lvl="3"/>
            <a:r>
              <a:rPr lang="es-ES_tradnl" sz="1100" dirty="0" err="1"/>
              <a:t>Fourth</a:t>
            </a:r>
            <a:r>
              <a:rPr lang="es-ES_tradnl" sz="1100" dirty="0"/>
              <a:t> </a:t>
            </a:r>
            <a:r>
              <a:rPr lang="es-ES_tradnl" sz="1100" dirty="0" err="1"/>
              <a:t>level</a:t>
            </a:r>
            <a:endParaRPr lang="es-ES_tradnl" sz="1100" dirty="0"/>
          </a:p>
          <a:p>
            <a:pPr lvl="4"/>
            <a:r>
              <a:rPr lang="es-ES_tradnl" sz="1100" dirty="0" err="1"/>
              <a:t>Fifth</a:t>
            </a:r>
            <a:r>
              <a:rPr lang="es-ES_tradnl" sz="1100" dirty="0"/>
              <a:t> </a:t>
            </a:r>
            <a:r>
              <a:rPr lang="es-ES_tradnl" sz="1100" dirty="0" err="1"/>
              <a:t>level</a:t>
            </a:r>
            <a:endParaRPr lang="es-ES_tradnl" sz="1100" dirty="0"/>
          </a:p>
        </p:txBody>
      </p:sp>
    </p:spTree>
    <p:extLst>
      <p:ext uri="{BB962C8B-B14F-4D97-AF65-F5344CB8AC3E}">
        <p14:creationId xmlns:p14="http://schemas.microsoft.com/office/powerpoint/2010/main" val="1556073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65" r:id="rId2"/>
    <p:sldLayoutId id="2147483664" r:id="rId3"/>
    <p:sldLayoutId id="2147483668" r:id="rId4"/>
    <p:sldLayoutId id="2147483672" r:id="rId5"/>
  </p:sldLayoutIdLst>
  <p:hf hdr="0" dt="0"/>
  <p:txStyles>
    <p:titleStyle>
      <a:lvl1pPr marL="0" marR="0" indent="0" algn="l" defTabSz="457200" rtl="0" eaLnBrk="1" fontAlgn="auto" latinLnBrk="0" hangingPunct="1">
        <a:lnSpc>
          <a:spcPts val="24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2200" b="1" kern="1200">
          <a:solidFill>
            <a:schemeClr val="tx1"/>
          </a:solidFill>
          <a:latin typeface="Calibri"/>
          <a:ea typeface="+mj-ea"/>
          <a:cs typeface="+mj-cs"/>
        </a:defRPr>
      </a:lvl1pPr>
    </p:titleStyle>
    <p:bodyStyle>
      <a:lvl1pPr marL="0" marR="0" indent="0" algn="l" defTabSz="457200" rtl="0" eaLnBrk="1" fontAlgn="auto" latinLnBrk="0" hangingPunct="1">
        <a:lnSpc>
          <a:spcPts val="1900"/>
        </a:lnSpc>
        <a:spcBef>
          <a:spcPts val="0"/>
        </a:spcBef>
        <a:spcAft>
          <a:spcPts val="500"/>
        </a:spcAft>
        <a:buClrTx/>
        <a:buSzTx/>
        <a:buFont typeface="Arial"/>
        <a:buNone/>
        <a:tabLst/>
        <a:defRPr sz="1800" kern="1200">
          <a:solidFill>
            <a:schemeClr val="tx1"/>
          </a:solidFill>
          <a:latin typeface="Calibri"/>
          <a:ea typeface="+mn-ea"/>
          <a:cs typeface="Calibri"/>
        </a:defRPr>
      </a:lvl1pPr>
      <a:lvl2pPr marL="182563" marR="0" indent="-182563" algn="l" defTabSz="457200" rtl="0" eaLnBrk="1" fontAlgn="auto" latinLnBrk="0" hangingPunct="1">
        <a:lnSpc>
          <a:spcPts val="1900"/>
        </a:lnSpc>
        <a:spcBef>
          <a:spcPts val="0"/>
        </a:spcBef>
        <a:spcAft>
          <a:spcPts val="500"/>
        </a:spcAft>
        <a:buClr>
          <a:schemeClr val="tx2"/>
        </a:buClr>
        <a:buSzTx/>
        <a:buFont typeface="Arial"/>
        <a:buChar char="•"/>
        <a:tabLst/>
        <a:defRPr sz="2800" kern="1200">
          <a:solidFill>
            <a:schemeClr val="tx1"/>
          </a:solidFill>
          <a:latin typeface="Calibri"/>
          <a:ea typeface="+mn-ea"/>
          <a:cs typeface="Calibri"/>
        </a:defRPr>
      </a:lvl2pPr>
      <a:lvl3pPr marL="460375" marR="0" indent="-285750" algn="l" defTabSz="447675" rtl="0" eaLnBrk="1" fontAlgn="auto" latinLnBrk="0" hangingPunct="1">
        <a:lnSpc>
          <a:spcPts val="1500"/>
        </a:lnSpc>
        <a:spcBef>
          <a:spcPts val="0"/>
        </a:spcBef>
        <a:spcAft>
          <a:spcPts val="300"/>
        </a:spcAft>
        <a:buClr>
          <a:srgbClr val="5A6E74"/>
        </a:buClr>
        <a:buSzTx/>
        <a:buFont typeface="Lucida Grande"/>
        <a:buChar char="-"/>
        <a:tabLst/>
        <a:defRPr sz="2400" kern="1200">
          <a:solidFill>
            <a:schemeClr val="tx1"/>
          </a:solidFill>
          <a:latin typeface="Calibri"/>
          <a:ea typeface="+mn-ea"/>
          <a:cs typeface="Calibri"/>
        </a:defRPr>
      </a:lvl3pPr>
      <a:lvl4pPr marL="539750" marR="0" indent="-182563" algn="l" defTabSz="457200" rtl="0" eaLnBrk="1" fontAlgn="auto" latinLnBrk="0" hangingPunct="1">
        <a:lnSpc>
          <a:spcPts val="1400"/>
        </a:lnSpc>
        <a:spcBef>
          <a:spcPts val="0"/>
        </a:spcBef>
        <a:spcAft>
          <a:spcPts val="0"/>
        </a:spcAft>
        <a:buClr>
          <a:srgbClr val="5A6E74"/>
        </a:buClr>
        <a:buSzTx/>
        <a:buFont typeface="Arial"/>
        <a:buChar char="•"/>
        <a:tabLst/>
        <a:defRPr sz="2000" kern="1200">
          <a:solidFill>
            <a:schemeClr val="tx1"/>
          </a:solidFill>
          <a:latin typeface="Calibri"/>
          <a:ea typeface="+mn-ea"/>
          <a:cs typeface="Calibri"/>
        </a:defRPr>
      </a:lvl4pPr>
      <a:lvl5pPr marL="714375" marR="0" indent="-174625" algn="l" defTabSz="457200" rtl="0" eaLnBrk="1" fontAlgn="auto" latinLnBrk="0" hangingPunct="1">
        <a:lnSpc>
          <a:spcPts val="1400"/>
        </a:lnSpc>
        <a:spcBef>
          <a:spcPts val="0"/>
        </a:spcBef>
        <a:spcAft>
          <a:spcPts val="0"/>
        </a:spcAft>
        <a:buClr>
          <a:srgbClr val="5A6E74"/>
        </a:buClr>
        <a:buSzTx/>
        <a:buFont typeface="Wingdings" charset="2"/>
        <a:buChar char="§"/>
        <a:tabLst/>
        <a:defRPr sz="2000" kern="1200">
          <a:solidFill>
            <a:schemeClr val="tx1"/>
          </a:solidFill>
          <a:latin typeface="Calibri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4.png"/><Relationship Id="rId3" Type="http://schemas.openxmlformats.org/officeDocument/2006/relationships/chart" Target="../charts/chart1.xml"/><Relationship Id="rId7" Type="http://schemas.openxmlformats.org/officeDocument/2006/relationships/image" Target="../media/image10.png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9.png"/><Relationship Id="rId11" Type="http://schemas.openxmlformats.org/officeDocument/2006/relationships/image" Target="../media/image7.png"/><Relationship Id="rId5" Type="http://schemas.openxmlformats.org/officeDocument/2006/relationships/image" Target="../media/image8.png"/><Relationship Id="rId15" Type="http://schemas.openxmlformats.org/officeDocument/2006/relationships/image" Target="../media/image16.png"/><Relationship Id="rId10" Type="http://schemas.openxmlformats.org/officeDocument/2006/relationships/image" Target="../media/image12.png"/><Relationship Id="rId4" Type="http://schemas.openxmlformats.org/officeDocument/2006/relationships/chart" Target="../charts/chart2.xml"/><Relationship Id="rId9" Type="http://schemas.openxmlformats.org/officeDocument/2006/relationships/image" Target="../media/image6.png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9.png"/><Relationship Id="rId5" Type="http://schemas.openxmlformats.org/officeDocument/2006/relationships/tags" Target="../tags/tag9.xml"/><Relationship Id="rId10" Type="http://schemas.openxmlformats.org/officeDocument/2006/relationships/image" Target="../media/image18.png"/><Relationship Id="rId4" Type="http://schemas.openxmlformats.org/officeDocument/2006/relationships/tags" Target="../tags/tag8.xml"/><Relationship Id="rId9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adroTexto 8"/>
          <p:cNvSpPr txBox="1"/>
          <p:nvPr/>
        </p:nvSpPr>
        <p:spPr>
          <a:xfrm>
            <a:off x="215867" y="4508099"/>
            <a:ext cx="85158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>
                <a:solidFill>
                  <a:srgbClr val="425563"/>
                </a:solidFill>
              </a:rPr>
              <a:t>Introducing Cellnex Group</a:t>
            </a:r>
            <a:endParaRPr lang="en-US" b="1" dirty="0">
              <a:solidFill>
                <a:srgbClr val="64A70B"/>
              </a:solidFill>
            </a:endParaRPr>
          </a:p>
        </p:txBody>
      </p:sp>
      <p:sp>
        <p:nvSpPr>
          <p:cNvPr id="4" name="CuadroTexto 8">
            <a:extLst>
              <a:ext uri="{FF2B5EF4-FFF2-40B4-BE49-F238E27FC236}">
                <a16:creationId xmlns:a16="http://schemas.microsoft.com/office/drawing/2014/main" id="{BA79DFFB-2EEB-DA41-8965-6C8DFD35952F}"/>
              </a:ext>
            </a:extLst>
          </p:cNvPr>
          <p:cNvSpPr txBox="1"/>
          <p:nvPr/>
        </p:nvSpPr>
        <p:spPr>
          <a:xfrm>
            <a:off x="208395" y="4766071"/>
            <a:ext cx="258178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350" spc="-10" dirty="0">
                <a:solidFill>
                  <a:srgbClr val="425563"/>
                </a:solidFill>
              </a:rPr>
              <a:t>April 2022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FC27CFE2-FD69-4CC1-82BD-5D237BC08B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2720"/>
            <a:ext cx="9144000" cy="321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428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8">
            <a:extLst>
              <a:ext uri="{FF2B5EF4-FFF2-40B4-BE49-F238E27FC236}">
                <a16:creationId xmlns:a16="http://schemas.microsoft.com/office/drawing/2014/main" id="{E10A6B02-61D8-0344-927C-E263B618F2F2}"/>
              </a:ext>
            </a:extLst>
          </p:cNvPr>
          <p:cNvSpPr txBox="1">
            <a:spLocks/>
          </p:cNvSpPr>
          <p:nvPr/>
        </p:nvSpPr>
        <p:spPr>
          <a:xfrm>
            <a:off x="392213" y="77819"/>
            <a:ext cx="7631009" cy="63771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s-ES" sz="3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Calibri"/>
              </a:defRPr>
            </a:lvl1pPr>
          </a:lstStyle>
          <a:p>
            <a:r>
              <a:rPr lang="en-US" sz="1800" dirty="0"/>
              <a:t>Cellnex’s Growth Story</a:t>
            </a:r>
          </a:p>
          <a:p>
            <a:endParaRPr lang="en-US" sz="1800" dirty="0"/>
          </a:p>
        </p:txBody>
      </p:sp>
      <p:sp>
        <p:nvSpPr>
          <p:cNvPr id="6" name="Rectangle 9"/>
          <p:cNvSpPr/>
          <p:nvPr/>
        </p:nvSpPr>
        <p:spPr>
          <a:xfrm>
            <a:off x="305387" y="392366"/>
            <a:ext cx="702356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118897"/>
                </a:solidFill>
              </a:rPr>
              <a:t>Cellnex’ European consolidation: 2014 – April 2022</a:t>
            </a:r>
            <a:endParaRPr lang="es-ES" sz="1600" dirty="0">
              <a:solidFill>
                <a:srgbClr val="409FAB"/>
              </a:solidFill>
            </a:endParaRPr>
          </a:p>
        </p:txBody>
      </p:sp>
      <p:sp>
        <p:nvSpPr>
          <p:cNvPr id="8" name="118 Rectángulo redondeado"/>
          <p:cNvSpPr/>
          <p:nvPr/>
        </p:nvSpPr>
        <p:spPr>
          <a:xfrm>
            <a:off x="679128" y="2189022"/>
            <a:ext cx="1193681" cy="5136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91439" tIns="91439" rIns="91439" bIns="91439" numCol="1" anchor="ctr">
            <a:spAutoFit/>
          </a:bodyPr>
          <a:lstStyle/>
          <a:p>
            <a:pPr marR="13545" algn="r" defTabSz="914400">
              <a:lnSpc>
                <a:spcPct val="60000"/>
              </a:lnSpc>
              <a:defRPr sz="2800" b="1" spc="-14">
                <a:solidFill>
                  <a:schemeClr val="accent2"/>
                </a:solidFill>
              </a:defRPr>
            </a:pPr>
            <a:r>
              <a:rPr sz="2000" spc="-27" dirty="0"/>
              <a:t>c. 7,000</a:t>
            </a:r>
            <a:br>
              <a:rPr sz="2000" dirty="0"/>
            </a:br>
            <a:r>
              <a:rPr sz="1400" dirty="0"/>
              <a:t>sites</a:t>
            </a:r>
          </a:p>
        </p:txBody>
      </p:sp>
      <p:sp>
        <p:nvSpPr>
          <p:cNvPr id="9" name="Rectangle"/>
          <p:cNvSpPr/>
          <p:nvPr/>
        </p:nvSpPr>
        <p:spPr>
          <a:xfrm>
            <a:off x="780001" y="1878908"/>
            <a:ext cx="1126843" cy="32896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defTabSz="914400">
              <a:defRPr sz="1800">
                <a:solidFill>
                  <a:srgbClr val="000000"/>
                </a:solidFill>
              </a:defRPr>
            </a:pPr>
            <a:endParaRPr/>
          </a:p>
        </p:txBody>
      </p:sp>
      <p:sp>
        <p:nvSpPr>
          <p:cNvPr id="10" name="118 Rectángulo redondeado"/>
          <p:cNvSpPr/>
          <p:nvPr/>
        </p:nvSpPr>
        <p:spPr>
          <a:xfrm>
            <a:off x="897814" y="1871809"/>
            <a:ext cx="1044067" cy="3693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91439" tIns="91439" rIns="91439" bIns="91439" numCol="1" anchor="ctr">
            <a:spAutoFit/>
          </a:bodyPr>
          <a:lstStyle>
            <a:lvl1pPr marR="13545" algn="r" defTabSz="914400">
              <a:lnSpc>
                <a:spcPct val="60000"/>
              </a:lnSpc>
              <a:defRPr sz="4800" b="1" spc="-24">
                <a:solidFill>
                  <a:srgbClr val="FFFFFF"/>
                </a:solidFill>
              </a:defRPr>
            </a:lvl1pPr>
          </a:lstStyle>
          <a:p>
            <a:pPr>
              <a:defRPr sz="3500" spc="-17"/>
            </a:pPr>
            <a:r>
              <a:rPr sz="2000" spc="-24" dirty="0"/>
              <a:t>2014</a:t>
            </a:r>
          </a:p>
        </p:txBody>
      </p:sp>
      <p:sp>
        <p:nvSpPr>
          <p:cNvPr id="11" name="Globus d’Europa"/>
          <p:cNvSpPr/>
          <p:nvPr/>
        </p:nvSpPr>
        <p:spPr>
          <a:xfrm>
            <a:off x="2273163" y="947801"/>
            <a:ext cx="3686611" cy="36826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03" h="21600" extrusionOk="0">
                <a:moveTo>
                  <a:pt x="10763" y="0"/>
                </a:moveTo>
                <a:cubicBezTo>
                  <a:pt x="8816" y="0"/>
                  <a:pt x="6993" y="533"/>
                  <a:pt x="5416" y="1448"/>
                </a:cubicBezTo>
                <a:lnTo>
                  <a:pt x="5364" y="1475"/>
                </a:lnTo>
                <a:lnTo>
                  <a:pt x="5259" y="1533"/>
                </a:lnTo>
                <a:lnTo>
                  <a:pt x="5173" y="1582"/>
                </a:lnTo>
                <a:lnTo>
                  <a:pt x="5091" y="1633"/>
                </a:lnTo>
                <a:lnTo>
                  <a:pt x="4999" y="1690"/>
                </a:lnTo>
                <a:lnTo>
                  <a:pt x="4949" y="1724"/>
                </a:lnTo>
                <a:lnTo>
                  <a:pt x="5018" y="1682"/>
                </a:lnTo>
                <a:lnTo>
                  <a:pt x="5073" y="1651"/>
                </a:lnTo>
                <a:lnTo>
                  <a:pt x="5123" y="1623"/>
                </a:lnTo>
                <a:lnTo>
                  <a:pt x="5126" y="1624"/>
                </a:lnTo>
                <a:lnTo>
                  <a:pt x="5039" y="1678"/>
                </a:lnTo>
                <a:cubicBezTo>
                  <a:pt x="4968" y="1723"/>
                  <a:pt x="4893" y="1763"/>
                  <a:pt x="4824" y="1810"/>
                </a:cubicBezTo>
                <a:lnTo>
                  <a:pt x="4926" y="1741"/>
                </a:lnTo>
                <a:lnTo>
                  <a:pt x="4931" y="1737"/>
                </a:lnTo>
                <a:lnTo>
                  <a:pt x="4949" y="1724"/>
                </a:lnTo>
                <a:lnTo>
                  <a:pt x="4860" y="1781"/>
                </a:lnTo>
                <a:lnTo>
                  <a:pt x="4840" y="1794"/>
                </a:lnTo>
                <a:lnTo>
                  <a:pt x="4817" y="1811"/>
                </a:lnTo>
                <a:lnTo>
                  <a:pt x="4782" y="1833"/>
                </a:lnTo>
                <a:lnTo>
                  <a:pt x="4762" y="1848"/>
                </a:lnTo>
                <a:lnTo>
                  <a:pt x="4758" y="1850"/>
                </a:lnTo>
                <a:lnTo>
                  <a:pt x="4723" y="1874"/>
                </a:lnTo>
                <a:lnTo>
                  <a:pt x="4701" y="1889"/>
                </a:lnTo>
                <a:lnTo>
                  <a:pt x="4639" y="1932"/>
                </a:lnTo>
                <a:lnTo>
                  <a:pt x="4664" y="1917"/>
                </a:lnTo>
                <a:lnTo>
                  <a:pt x="4562" y="1993"/>
                </a:lnTo>
                <a:lnTo>
                  <a:pt x="4484" y="2049"/>
                </a:lnTo>
                <a:lnTo>
                  <a:pt x="4437" y="2087"/>
                </a:lnTo>
                <a:lnTo>
                  <a:pt x="4413" y="2111"/>
                </a:lnTo>
                <a:cubicBezTo>
                  <a:pt x="4345" y="2162"/>
                  <a:pt x="4275" y="2211"/>
                  <a:pt x="4207" y="2264"/>
                </a:cubicBezTo>
                <a:lnTo>
                  <a:pt x="4221" y="2252"/>
                </a:lnTo>
                <a:lnTo>
                  <a:pt x="4281" y="2203"/>
                </a:lnTo>
                <a:lnTo>
                  <a:pt x="4341" y="2155"/>
                </a:lnTo>
                <a:lnTo>
                  <a:pt x="4433" y="2082"/>
                </a:lnTo>
                <a:lnTo>
                  <a:pt x="4541" y="2003"/>
                </a:lnTo>
                <a:lnTo>
                  <a:pt x="4452" y="2067"/>
                </a:lnTo>
                <a:lnTo>
                  <a:pt x="4380" y="2119"/>
                </a:lnTo>
                <a:lnTo>
                  <a:pt x="4310" y="2171"/>
                </a:lnTo>
                <a:lnTo>
                  <a:pt x="4209" y="2249"/>
                </a:lnTo>
                <a:lnTo>
                  <a:pt x="4134" y="2308"/>
                </a:lnTo>
                <a:lnTo>
                  <a:pt x="4119" y="2323"/>
                </a:lnTo>
                <a:lnTo>
                  <a:pt x="4082" y="2353"/>
                </a:lnTo>
                <a:lnTo>
                  <a:pt x="4000" y="2421"/>
                </a:lnTo>
                <a:cubicBezTo>
                  <a:pt x="3953" y="2459"/>
                  <a:pt x="3908" y="2498"/>
                  <a:pt x="3863" y="2537"/>
                </a:cubicBezTo>
                <a:cubicBezTo>
                  <a:pt x="3848" y="2549"/>
                  <a:pt x="3834" y="2561"/>
                  <a:pt x="3819" y="2574"/>
                </a:cubicBezTo>
                <a:lnTo>
                  <a:pt x="3700" y="2680"/>
                </a:lnTo>
                <a:lnTo>
                  <a:pt x="3543" y="2826"/>
                </a:lnTo>
                <a:lnTo>
                  <a:pt x="3518" y="2851"/>
                </a:lnTo>
                <a:cubicBezTo>
                  <a:pt x="3244" y="3104"/>
                  <a:pt x="2984" y="3369"/>
                  <a:pt x="2738" y="3648"/>
                </a:cubicBezTo>
                <a:lnTo>
                  <a:pt x="2736" y="3649"/>
                </a:lnTo>
                <a:lnTo>
                  <a:pt x="2661" y="3727"/>
                </a:lnTo>
                <a:lnTo>
                  <a:pt x="2642" y="3747"/>
                </a:lnTo>
                <a:lnTo>
                  <a:pt x="2594" y="3803"/>
                </a:lnTo>
                <a:lnTo>
                  <a:pt x="2544" y="3865"/>
                </a:lnTo>
                <a:lnTo>
                  <a:pt x="2535" y="3873"/>
                </a:lnTo>
                <a:cubicBezTo>
                  <a:pt x="2485" y="3934"/>
                  <a:pt x="2437" y="3997"/>
                  <a:pt x="2388" y="4058"/>
                </a:cubicBezTo>
                <a:lnTo>
                  <a:pt x="2368" y="4082"/>
                </a:lnTo>
                <a:lnTo>
                  <a:pt x="2316" y="4153"/>
                </a:lnTo>
                <a:lnTo>
                  <a:pt x="2254" y="4237"/>
                </a:lnTo>
                <a:cubicBezTo>
                  <a:pt x="2252" y="4239"/>
                  <a:pt x="2251" y="4243"/>
                  <a:pt x="2249" y="4245"/>
                </a:cubicBezTo>
                <a:lnTo>
                  <a:pt x="2140" y="4387"/>
                </a:lnTo>
                <a:lnTo>
                  <a:pt x="2087" y="4461"/>
                </a:lnTo>
                <a:lnTo>
                  <a:pt x="2080" y="4471"/>
                </a:lnTo>
                <a:lnTo>
                  <a:pt x="2015" y="4558"/>
                </a:lnTo>
                <a:cubicBezTo>
                  <a:pt x="1836" y="4811"/>
                  <a:pt x="1670" y="5073"/>
                  <a:pt x="1512" y="5341"/>
                </a:cubicBezTo>
                <a:lnTo>
                  <a:pt x="1502" y="5358"/>
                </a:lnTo>
                <a:cubicBezTo>
                  <a:pt x="800" y="6562"/>
                  <a:pt x="315" y="7908"/>
                  <a:pt x="121" y="9349"/>
                </a:cubicBezTo>
                <a:cubicBezTo>
                  <a:pt x="-23" y="10211"/>
                  <a:pt x="-97" y="11471"/>
                  <a:pt x="238" y="12968"/>
                </a:cubicBezTo>
                <a:cubicBezTo>
                  <a:pt x="240" y="12974"/>
                  <a:pt x="242" y="12979"/>
                  <a:pt x="244" y="12985"/>
                </a:cubicBezTo>
                <a:cubicBezTo>
                  <a:pt x="286" y="13171"/>
                  <a:pt x="334" y="13361"/>
                  <a:pt x="389" y="13554"/>
                </a:cubicBezTo>
                <a:cubicBezTo>
                  <a:pt x="1604" y="18177"/>
                  <a:pt x="5788" y="21600"/>
                  <a:pt x="10763" y="21600"/>
                </a:cubicBezTo>
                <a:cubicBezTo>
                  <a:pt x="16685" y="21600"/>
                  <a:pt x="21503" y="16755"/>
                  <a:pt x="21503" y="10800"/>
                </a:cubicBezTo>
                <a:cubicBezTo>
                  <a:pt x="21503" y="4845"/>
                  <a:pt x="16685" y="0"/>
                  <a:pt x="10763" y="0"/>
                </a:cubicBezTo>
                <a:close/>
                <a:moveTo>
                  <a:pt x="10763" y="54"/>
                </a:moveTo>
                <a:cubicBezTo>
                  <a:pt x="15772" y="54"/>
                  <a:pt x="19975" y="3543"/>
                  <a:pt x="21126" y="8228"/>
                </a:cubicBezTo>
                <a:lnTo>
                  <a:pt x="21105" y="8182"/>
                </a:lnTo>
                <a:lnTo>
                  <a:pt x="21098" y="8186"/>
                </a:lnTo>
                <a:lnTo>
                  <a:pt x="21120" y="8327"/>
                </a:lnTo>
                <a:lnTo>
                  <a:pt x="21135" y="8312"/>
                </a:lnTo>
                <a:lnTo>
                  <a:pt x="21148" y="8347"/>
                </a:lnTo>
                <a:lnTo>
                  <a:pt x="21160" y="8428"/>
                </a:lnTo>
                <a:lnTo>
                  <a:pt x="21178" y="8465"/>
                </a:lnTo>
                <a:lnTo>
                  <a:pt x="21172" y="8427"/>
                </a:lnTo>
                <a:lnTo>
                  <a:pt x="21192" y="8482"/>
                </a:lnTo>
                <a:lnTo>
                  <a:pt x="21195" y="8491"/>
                </a:lnTo>
                <a:cubicBezTo>
                  <a:pt x="21228" y="8643"/>
                  <a:pt x="21260" y="8795"/>
                  <a:pt x="21287" y="8950"/>
                </a:cubicBezTo>
                <a:lnTo>
                  <a:pt x="21289" y="8958"/>
                </a:lnTo>
                <a:lnTo>
                  <a:pt x="21309" y="9083"/>
                </a:lnTo>
                <a:lnTo>
                  <a:pt x="21329" y="9196"/>
                </a:lnTo>
                <a:cubicBezTo>
                  <a:pt x="21336" y="9242"/>
                  <a:pt x="21341" y="9289"/>
                  <a:pt x="21347" y="9336"/>
                </a:cubicBezTo>
                <a:lnTo>
                  <a:pt x="21344" y="9334"/>
                </a:lnTo>
                <a:lnTo>
                  <a:pt x="21367" y="9561"/>
                </a:lnTo>
                <a:lnTo>
                  <a:pt x="21386" y="9696"/>
                </a:lnTo>
                <a:lnTo>
                  <a:pt x="21401" y="9803"/>
                </a:lnTo>
                <a:cubicBezTo>
                  <a:pt x="21402" y="9814"/>
                  <a:pt x="21402" y="9825"/>
                  <a:pt x="21403" y="9835"/>
                </a:cubicBezTo>
                <a:lnTo>
                  <a:pt x="21403" y="9931"/>
                </a:lnTo>
                <a:lnTo>
                  <a:pt x="21393" y="9841"/>
                </a:lnTo>
                <a:lnTo>
                  <a:pt x="21393" y="9903"/>
                </a:lnTo>
                <a:lnTo>
                  <a:pt x="21401" y="9953"/>
                </a:lnTo>
                <a:lnTo>
                  <a:pt x="21401" y="9960"/>
                </a:lnTo>
                <a:lnTo>
                  <a:pt x="21399" y="10002"/>
                </a:lnTo>
                <a:lnTo>
                  <a:pt x="21391" y="9963"/>
                </a:lnTo>
                <a:lnTo>
                  <a:pt x="21381" y="9989"/>
                </a:lnTo>
                <a:lnTo>
                  <a:pt x="21381" y="10051"/>
                </a:lnTo>
                <a:lnTo>
                  <a:pt x="21396" y="10211"/>
                </a:lnTo>
                <a:lnTo>
                  <a:pt x="21398" y="10253"/>
                </a:lnTo>
                <a:lnTo>
                  <a:pt x="21393" y="10251"/>
                </a:lnTo>
                <a:lnTo>
                  <a:pt x="21393" y="10317"/>
                </a:lnTo>
                <a:lnTo>
                  <a:pt x="21361" y="10303"/>
                </a:lnTo>
                <a:lnTo>
                  <a:pt x="21351" y="10376"/>
                </a:lnTo>
                <a:lnTo>
                  <a:pt x="21356" y="10489"/>
                </a:lnTo>
                <a:lnTo>
                  <a:pt x="21369" y="10510"/>
                </a:lnTo>
                <a:lnTo>
                  <a:pt x="21372" y="10349"/>
                </a:lnTo>
                <a:lnTo>
                  <a:pt x="21384" y="10541"/>
                </a:lnTo>
                <a:lnTo>
                  <a:pt x="21391" y="10549"/>
                </a:lnTo>
                <a:lnTo>
                  <a:pt x="21394" y="10487"/>
                </a:lnTo>
                <a:lnTo>
                  <a:pt x="21408" y="10522"/>
                </a:lnTo>
                <a:lnTo>
                  <a:pt x="21409" y="10591"/>
                </a:lnTo>
                <a:lnTo>
                  <a:pt x="21413" y="10670"/>
                </a:lnTo>
                <a:lnTo>
                  <a:pt x="21389" y="10813"/>
                </a:lnTo>
                <a:lnTo>
                  <a:pt x="21393" y="10926"/>
                </a:lnTo>
                <a:lnTo>
                  <a:pt x="21403" y="10960"/>
                </a:lnTo>
                <a:lnTo>
                  <a:pt x="21414" y="10817"/>
                </a:lnTo>
                <a:lnTo>
                  <a:pt x="21416" y="10810"/>
                </a:lnTo>
                <a:lnTo>
                  <a:pt x="21416" y="10835"/>
                </a:lnTo>
                <a:lnTo>
                  <a:pt x="21416" y="11031"/>
                </a:lnTo>
                <a:lnTo>
                  <a:pt x="21401" y="11238"/>
                </a:lnTo>
                <a:lnTo>
                  <a:pt x="21394" y="11324"/>
                </a:lnTo>
                <a:lnTo>
                  <a:pt x="21398" y="11445"/>
                </a:lnTo>
                <a:lnTo>
                  <a:pt x="21382" y="11583"/>
                </a:lnTo>
                <a:lnTo>
                  <a:pt x="21364" y="11658"/>
                </a:lnTo>
                <a:lnTo>
                  <a:pt x="21352" y="11820"/>
                </a:lnTo>
                <a:lnTo>
                  <a:pt x="21352" y="11936"/>
                </a:lnTo>
                <a:lnTo>
                  <a:pt x="21356" y="12009"/>
                </a:lnTo>
                <a:lnTo>
                  <a:pt x="21366" y="12027"/>
                </a:lnTo>
                <a:lnTo>
                  <a:pt x="21376" y="11982"/>
                </a:lnTo>
                <a:lnTo>
                  <a:pt x="21369" y="12089"/>
                </a:lnTo>
                <a:lnTo>
                  <a:pt x="21369" y="12100"/>
                </a:lnTo>
                <a:cubicBezTo>
                  <a:pt x="21359" y="12182"/>
                  <a:pt x="21344" y="12263"/>
                  <a:pt x="21332" y="12345"/>
                </a:cubicBezTo>
                <a:lnTo>
                  <a:pt x="21349" y="12158"/>
                </a:lnTo>
                <a:lnTo>
                  <a:pt x="21339" y="12170"/>
                </a:lnTo>
                <a:lnTo>
                  <a:pt x="21351" y="11961"/>
                </a:lnTo>
                <a:lnTo>
                  <a:pt x="21342" y="11837"/>
                </a:lnTo>
                <a:lnTo>
                  <a:pt x="21326" y="12051"/>
                </a:lnTo>
                <a:lnTo>
                  <a:pt x="21326" y="12175"/>
                </a:lnTo>
                <a:lnTo>
                  <a:pt x="21312" y="12317"/>
                </a:lnTo>
                <a:lnTo>
                  <a:pt x="21299" y="12465"/>
                </a:lnTo>
                <a:lnTo>
                  <a:pt x="21285" y="12589"/>
                </a:lnTo>
                <a:lnTo>
                  <a:pt x="21269" y="12724"/>
                </a:lnTo>
                <a:lnTo>
                  <a:pt x="21252" y="12825"/>
                </a:lnTo>
                <a:lnTo>
                  <a:pt x="21239" y="12901"/>
                </a:lnTo>
                <a:cubicBezTo>
                  <a:pt x="21236" y="12915"/>
                  <a:pt x="21233" y="12929"/>
                  <a:pt x="21230" y="12943"/>
                </a:cubicBezTo>
                <a:lnTo>
                  <a:pt x="21208" y="13042"/>
                </a:lnTo>
                <a:lnTo>
                  <a:pt x="21187" y="13136"/>
                </a:lnTo>
                <a:cubicBezTo>
                  <a:pt x="21179" y="13172"/>
                  <a:pt x="21166" y="13205"/>
                  <a:pt x="21158" y="13241"/>
                </a:cubicBezTo>
                <a:cubicBezTo>
                  <a:pt x="20055" y="17992"/>
                  <a:pt x="15819" y="21546"/>
                  <a:pt x="10763" y="21546"/>
                </a:cubicBezTo>
                <a:cubicBezTo>
                  <a:pt x="6628" y="21546"/>
                  <a:pt x="3050" y="19164"/>
                  <a:pt x="1275" y="15700"/>
                </a:cubicBezTo>
                <a:lnTo>
                  <a:pt x="1278" y="15702"/>
                </a:lnTo>
                <a:lnTo>
                  <a:pt x="1303" y="15725"/>
                </a:lnTo>
                <a:lnTo>
                  <a:pt x="1315" y="15708"/>
                </a:lnTo>
                <a:lnTo>
                  <a:pt x="1390" y="15769"/>
                </a:lnTo>
                <a:lnTo>
                  <a:pt x="1417" y="15776"/>
                </a:lnTo>
                <a:lnTo>
                  <a:pt x="1412" y="15671"/>
                </a:lnTo>
                <a:lnTo>
                  <a:pt x="1385" y="15591"/>
                </a:lnTo>
                <a:lnTo>
                  <a:pt x="1333" y="15419"/>
                </a:lnTo>
                <a:lnTo>
                  <a:pt x="1298" y="15338"/>
                </a:lnTo>
                <a:lnTo>
                  <a:pt x="1226" y="15217"/>
                </a:lnTo>
                <a:lnTo>
                  <a:pt x="1157" y="15082"/>
                </a:lnTo>
                <a:lnTo>
                  <a:pt x="1044" y="14791"/>
                </a:lnTo>
                <a:lnTo>
                  <a:pt x="923" y="14497"/>
                </a:lnTo>
                <a:lnTo>
                  <a:pt x="819" y="14289"/>
                </a:lnTo>
                <a:lnTo>
                  <a:pt x="687" y="13954"/>
                </a:lnTo>
                <a:lnTo>
                  <a:pt x="618" y="13816"/>
                </a:lnTo>
                <a:lnTo>
                  <a:pt x="623" y="13783"/>
                </a:lnTo>
                <a:lnTo>
                  <a:pt x="592" y="13650"/>
                </a:lnTo>
                <a:lnTo>
                  <a:pt x="498" y="13342"/>
                </a:lnTo>
                <a:lnTo>
                  <a:pt x="433" y="13116"/>
                </a:lnTo>
                <a:lnTo>
                  <a:pt x="399" y="13074"/>
                </a:lnTo>
                <a:lnTo>
                  <a:pt x="394" y="12961"/>
                </a:lnTo>
                <a:lnTo>
                  <a:pt x="317" y="12680"/>
                </a:lnTo>
                <a:lnTo>
                  <a:pt x="305" y="12601"/>
                </a:lnTo>
                <a:lnTo>
                  <a:pt x="337" y="12626"/>
                </a:lnTo>
                <a:lnTo>
                  <a:pt x="339" y="12547"/>
                </a:lnTo>
                <a:lnTo>
                  <a:pt x="319" y="12450"/>
                </a:lnTo>
                <a:lnTo>
                  <a:pt x="312" y="12175"/>
                </a:lnTo>
                <a:lnTo>
                  <a:pt x="309" y="12078"/>
                </a:lnTo>
                <a:lnTo>
                  <a:pt x="295" y="12032"/>
                </a:lnTo>
                <a:lnTo>
                  <a:pt x="295" y="11963"/>
                </a:lnTo>
                <a:lnTo>
                  <a:pt x="272" y="11711"/>
                </a:lnTo>
                <a:lnTo>
                  <a:pt x="254" y="11574"/>
                </a:lnTo>
                <a:lnTo>
                  <a:pt x="245" y="11510"/>
                </a:lnTo>
                <a:lnTo>
                  <a:pt x="222" y="11318"/>
                </a:lnTo>
                <a:lnTo>
                  <a:pt x="200" y="11204"/>
                </a:lnTo>
                <a:lnTo>
                  <a:pt x="193" y="11207"/>
                </a:lnTo>
                <a:lnTo>
                  <a:pt x="173" y="11004"/>
                </a:lnTo>
                <a:lnTo>
                  <a:pt x="173" y="10906"/>
                </a:lnTo>
                <a:lnTo>
                  <a:pt x="173" y="10771"/>
                </a:lnTo>
                <a:lnTo>
                  <a:pt x="168" y="10712"/>
                </a:lnTo>
                <a:lnTo>
                  <a:pt x="180" y="10652"/>
                </a:lnTo>
                <a:lnTo>
                  <a:pt x="188" y="10489"/>
                </a:lnTo>
                <a:lnTo>
                  <a:pt x="190" y="10349"/>
                </a:lnTo>
                <a:lnTo>
                  <a:pt x="192" y="10265"/>
                </a:lnTo>
                <a:lnTo>
                  <a:pt x="187" y="10187"/>
                </a:lnTo>
                <a:lnTo>
                  <a:pt x="210" y="10078"/>
                </a:lnTo>
                <a:lnTo>
                  <a:pt x="220" y="9911"/>
                </a:lnTo>
                <a:lnTo>
                  <a:pt x="220" y="9782"/>
                </a:lnTo>
                <a:lnTo>
                  <a:pt x="235" y="9681"/>
                </a:lnTo>
                <a:lnTo>
                  <a:pt x="247" y="9777"/>
                </a:lnTo>
                <a:lnTo>
                  <a:pt x="245" y="9598"/>
                </a:lnTo>
                <a:lnTo>
                  <a:pt x="245" y="9416"/>
                </a:lnTo>
                <a:lnTo>
                  <a:pt x="237" y="9442"/>
                </a:lnTo>
                <a:lnTo>
                  <a:pt x="228" y="9389"/>
                </a:lnTo>
                <a:lnTo>
                  <a:pt x="238" y="9260"/>
                </a:lnTo>
                <a:lnTo>
                  <a:pt x="259" y="9127"/>
                </a:lnTo>
                <a:lnTo>
                  <a:pt x="269" y="8977"/>
                </a:lnTo>
                <a:lnTo>
                  <a:pt x="282" y="8841"/>
                </a:lnTo>
                <a:lnTo>
                  <a:pt x="295" y="8800"/>
                </a:lnTo>
                <a:lnTo>
                  <a:pt x="326" y="8645"/>
                </a:lnTo>
                <a:lnTo>
                  <a:pt x="341" y="8539"/>
                </a:lnTo>
                <a:lnTo>
                  <a:pt x="374" y="8415"/>
                </a:lnTo>
                <a:lnTo>
                  <a:pt x="371" y="8395"/>
                </a:lnTo>
                <a:lnTo>
                  <a:pt x="351" y="8462"/>
                </a:lnTo>
                <a:lnTo>
                  <a:pt x="359" y="8381"/>
                </a:lnTo>
                <a:cubicBezTo>
                  <a:pt x="369" y="8337"/>
                  <a:pt x="382" y="8294"/>
                  <a:pt x="392" y="8250"/>
                </a:cubicBezTo>
                <a:cubicBezTo>
                  <a:pt x="393" y="8249"/>
                  <a:pt x="394" y="8248"/>
                  <a:pt x="394" y="8246"/>
                </a:cubicBezTo>
                <a:lnTo>
                  <a:pt x="401" y="8241"/>
                </a:lnTo>
                <a:lnTo>
                  <a:pt x="431" y="8117"/>
                </a:lnTo>
                <a:lnTo>
                  <a:pt x="429" y="8107"/>
                </a:lnTo>
                <a:cubicBezTo>
                  <a:pt x="876" y="6377"/>
                  <a:pt x="1738" y="4819"/>
                  <a:pt x="2907" y="3542"/>
                </a:cubicBezTo>
                <a:lnTo>
                  <a:pt x="2850" y="3631"/>
                </a:lnTo>
                <a:lnTo>
                  <a:pt x="2826" y="3695"/>
                </a:lnTo>
                <a:lnTo>
                  <a:pt x="2775" y="3779"/>
                </a:lnTo>
                <a:lnTo>
                  <a:pt x="2729" y="3846"/>
                </a:lnTo>
                <a:lnTo>
                  <a:pt x="2652" y="3944"/>
                </a:lnTo>
                <a:lnTo>
                  <a:pt x="2592" y="4038"/>
                </a:lnTo>
                <a:lnTo>
                  <a:pt x="2493" y="4158"/>
                </a:lnTo>
                <a:lnTo>
                  <a:pt x="2435" y="4245"/>
                </a:lnTo>
                <a:lnTo>
                  <a:pt x="2423" y="4279"/>
                </a:lnTo>
                <a:lnTo>
                  <a:pt x="2385" y="4333"/>
                </a:lnTo>
                <a:lnTo>
                  <a:pt x="2381" y="4348"/>
                </a:lnTo>
                <a:lnTo>
                  <a:pt x="2413" y="4311"/>
                </a:lnTo>
                <a:lnTo>
                  <a:pt x="2445" y="4289"/>
                </a:lnTo>
                <a:lnTo>
                  <a:pt x="2482" y="4249"/>
                </a:lnTo>
                <a:lnTo>
                  <a:pt x="2463" y="4291"/>
                </a:lnTo>
                <a:lnTo>
                  <a:pt x="2416" y="4378"/>
                </a:lnTo>
                <a:lnTo>
                  <a:pt x="2346" y="4493"/>
                </a:lnTo>
                <a:lnTo>
                  <a:pt x="2282" y="4622"/>
                </a:lnTo>
                <a:lnTo>
                  <a:pt x="2222" y="4713"/>
                </a:lnTo>
                <a:lnTo>
                  <a:pt x="2152" y="4802"/>
                </a:lnTo>
                <a:lnTo>
                  <a:pt x="2137" y="4829"/>
                </a:lnTo>
                <a:lnTo>
                  <a:pt x="2115" y="4924"/>
                </a:lnTo>
                <a:lnTo>
                  <a:pt x="2080" y="4983"/>
                </a:lnTo>
                <a:lnTo>
                  <a:pt x="1963" y="5137"/>
                </a:lnTo>
                <a:lnTo>
                  <a:pt x="1901" y="5210"/>
                </a:lnTo>
                <a:lnTo>
                  <a:pt x="1857" y="5232"/>
                </a:lnTo>
                <a:lnTo>
                  <a:pt x="1817" y="5277"/>
                </a:lnTo>
                <a:lnTo>
                  <a:pt x="1730" y="5393"/>
                </a:lnTo>
                <a:lnTo>
                  <a:pt x="1635" y="5526"/>
                </a:lnTo>
                <a:lnTo>
                  <a:pt x="1596" y="5594"/>
                </a:lnTo>
                <a:lnTo>
                  <a:pt x="1556" y="5647"/>
                </a:lnTo>
                <a:lnTo>
                  <a:pt x="1521" y="5722"/>
                </a:lnTo>
                <a:lnTo>
                  <a:pt x="1514" y="5752"/>
                </a:lnTo>
                <a:lnTo>
                  <a:pt x="1549" y="5738"/>
                </a:lnTo>
                <a:lnTo>
                  <a:pt x="1578" y="5715"/>
                </a:lnTo>
                <a:lnTo>
                  <a:pt x="1630" y="5668"/>
                </a:lnTo>
                <a:lnTo>
                  <a:pt x="1747" y="5520"/>
                </a:lnTo>
                <a:lnTo>
                  <a:pt x="1784" y="5488"/>
                </a:lnTo>
                <a:lnTo>
                  <a:pt x="1867" y="5380"/>
                </a:lnTo>
                <a:lnTo>
                  <a:pt x="1958" y="5277"/>
                </a:lnTo>
                <a:lnTo>
                  <a:pt x="2030" y="5208"/>
                </a:lnTo>
                <a:lnTo>
                  <a:pt x="2087" y="5179"/>
                </a:lnTo>
                <a:lnTo>
                  <a:pt x="2118" y="5200"/>
                </a:lnTo>
                <a:lnTo>
                  <a:pt x="2137" y="5238"/>
                </a:lnTo>
                <a:lnTo>
                  <a:pt x="2148" y="5331"/>
                </a:lnTo>
                <a:lnTo>
                  <a:pt x="2175" y="5326"/>
                </a:lnTo>
                <a:lnTo>
                  <a:pt x="2190" y="5365"/>
                </a:lnTo>
                <a:lnTo>
                  <a:pt x="2177" y="5422"/>
                </a:lnTo>
                <a:lnTo>
                  <a:pt x="2210" y="5464"/>
                </a:lnTo>
                <a:lnTo>
                  <a:pt x="2202" y="5570"/>
                </a:lnTo>
                <a:lnTo>
                  <a:pt x="2259" y="5599"/>
                </a:lnTo>
                <a:lnTo>
                  <a:pt x="2369" y="5514"/>
                </a:lnTo>
                <a:lnTo>
                  <a:pt x="2411" y="5479"/>
                </a:lnTo>
                <a:lnTo>
                  <a:pt x="2428" y="5440"/>
                </a:lnTo>
                <a:lnTo>
                  <a:pt x="2535" y="5375"/>
                </a:lnTo>
                <a:lnTo>
                  <a:pt x="2592" y="5277"/>
                </a:lnTo>
                <a:lnTo>
                  <a:pt x="2554" y="5361"/>
                </a:lnTo>
                <a:lnTo>
                  <a:pt x="2632" y="5296"/>
                </a:lnTo>
                <a:lnTo>
                  <a:pt x="2676" y="5292"/>
                </a:lnTo>
                <a:lnTo>
                  <a:pt x="2577" y="5358"/>
                </a:lnTo>
                <a:lnTo>
                  <a:pt x="2517" y="5442"/>
                </a:lnTo>
                <a:lnTo>
                  <a:pt x="2451" y="5449"/>
                </a:lnTo>
                <a:lnTo>
                  <a:pt x="2445" y="5462"/>
                </a:lnTo>
                <a:lnTo>
                  <a:pt x="2515" y="5477"/>
                </a:lnTo>
                <a:lnTo>
                  <a:pt x="2549" y="5491"/>
                </a:lnTo>
                <a:lnTo>
                  <a:pt x="2592" y="5464"/>
                </a:lnTo>
                <a:lnTo>
                  <a:pt x="2621" y="5424"/>
                </a:lnTo>
                <a:lnTo>
                  <a:pt x="2689" y="5366"/>
                </a:lnTo>
                <a:lnTo>
                  <a:pt x="2649" y="5420"/>
                </a:lnTo>
                <a:lnTo>
                  <a:pt x="2637" y="5449"/>
                </a:lnTo>
                <a:lnTo>
                  <a:pt x="2605" y="5474"/>
                </a:lnTo>
                <a:lnTo>
                  <a:pt x="2672" y="5509"/>
                </a:lnTo>
                <a:lnTo>
                  <a:pt x="2751" y="5489"/>
                </a:lnTo>
                <a:lnTo>
                  <a:pt x="2765" y="5452"/>
                </a:lnTo>
                <a:lnTo>
                  <a:pt x="2790" y="5471"/>
                </a:lnTo>
                <a:lnTo>
                  <a:pt x="2776" y="5474"/>
                </a:lnTo>
                <a:lnTo>
                  <a:pt x="2759" y="5548"/>
                </a:lnTo>
                <a:lnTo>
                  <a:pt x="2763" y="5690"/>
                </a:lnTo>
                <a:lnTo>
                  <a:pt x="2791" y="5642"/>
                </a:lnTo>
                <a:lnTo>
                  <a:pt x="2805" y="5488"/>
                </a:lnTo>
                <a:lnTo>
                  <a:pt x="2818" y="5563"/>
                </a:lnTo>
                <a:lnTo>
                  <a:pt x="2811" y="5627"/>
                </a:lnTo>
                <a:lnTo>
                  <a:pt x="2808" y="5674"/>
                </a:lnTo>
                <a:lnTo>
                  <a:pt x="2813" y="5747"/>
                </a:lnTo>
                <a:lnTo>
                  <a:pt x="2801" y="5802"/>
                </a:lnTo>
                <a:lnTo>
                  <a:pt x="2810" y="5870"/>
                </a:lnTo>
                <a:lnTo>
                  <a:pt x="2843" y="5860"/>
                </a:lnTo>
                <a:lnTo>
                  <a:pt x="2877" y="5809"/>
                </a:lnTo>
                <a:lnTo>
                  <a:pt x="2830" y="5846"/>
                </a:lnTo>
                <a:lnTo>
                  <a:pt x="2840" y="5797"/>
                </a:lnTo>
                <a:lnTo>
                  <a:pt x="2912" y="5725"/>
                </a:lnTo>
                <a:lnTo>
                  <a:pt x="2977" y="5691"/>
                </a:lnTo>
                <a:lnTo>
                  <a:pt x="2996" y="5695"/>
                </a:lnTo>
                <a:lnTo>
                  <a:pt x="3069" y="5716"/>
                </a:lnTo>
                <a:lnTo>
                  <a:pt x="3091" y="5814"/>
                </a:lnTo>
                <a:lnTo>
                  <a:pt x="3121" y="5903"/>
                </a:lnTo>
                <a:lnTo>
                  <a:pt x="3173" y="5987"/>
                </a:lnTo>
                <a:lnTo>
                  <a:pt x="3218" y="5947"/>
                </a:lnTo>
                <a:lnTo>
                  <a:pt x="3225" y="6058"/>
                </a:lnTo>
                <a:lnTo>
                  <a:pt x="3222" y="6230"/>
                </a:lnTo>
                <a:lnTo>
                  <a:pt x="3123" y="6100"/>
                </a:lnTo>
                <a:lnTo>
                  <a:pt x="3012" y="6164"/>
                </a:lnTo>
                <a:lnTo>
                  <a:pt x="2997" y="6253"/>
                </a:lnTo>
                <a:lnTo>
                  <a:pt x="3086" y="6324"/>
                </a:lnTo>
                <a:lnTo>
                  <a:pt x="3138" y="6403"/>
                </a:lnTo>
                <a:lnTo>
                  <a:pt x="3220" y="6599"/>
                </a:lnTo>
                <a:lnTo>
                  <a:pt x="3314" y="6679"/>
                </a:lnTo>
                <a:lnTo>
                  <a:pt x="3359" y="6582"/>
                </a:lnTo>
                <a:lnTo>
                  <a:pt x="3456" y="6516"/>
                </a:lnTo>
                <a:lnTo>
                  <a:pt x="3300" y="6498"/>
                </a:lnTo>
                <a:lnTo>
                  <a:pt x="3278" y="6331"/>
                </a:lnTo>
                <a:lnTo>
                  <a:pt x="3349" y="6156"/>
                </a:lnTo>
                <a:lnTo>
                  <a:pt x="3451" y="6068"/>
                </a:lnTo>
                <a:lnTo>
                  <a:pt x="3601" y="5961"/>
                </a:lnTo>
                <a:lnTo>
                  <a:pt x="3692" y="6013"/>
                </a:lnTo>
                <a:lnTo>
                  <a:pt x="3764" y="5890"/>
                </a:lnTo>
                <a:lnTo>
                  <a:pt x="3759" y="5745"/>
                </a:lnTo>
                <a:lnTo>
                  <a:pt x="3662" y="5583"/>
                </a:lnTo>
                <a:lnTo>
                  <a:pt x="3504" y="5498"/>
                </a:lnTo>
                <a:lnTo>
                  <a:pt x="3498" y="5419"/>
                </a:lnTo>
                <a:lnTo>
                  <a:pt x="3603" y="5484"/>
                </a:lnTo>
                <a:lnTo>
                  <a:pt x="3767" y="5553"/>
                </a:lnTo>
                <a:lnTo>
                  <a:pt x="3817" y="5652"/>
                </a:lnTo>
                <a:lnTo>
                  <a:pt x="3913" y="5693"/>
                </a:lnTo>
                <a:lnTo>
                  <a:pt x="3916" y="5791"/>
                </a:lnTo>
                <a:lnTo>
                  <a:pt x="3910" y="5939"/>
                </a:lnTo>
                <a:lnTo>
                  <a:pt x="3881" y="6164"/>
                </a:lnTo>
                <a:lnTo>
                  <a:pt x="3911" y="6319"/>
                </a:lnTo>
                <a:lnTo>
                  <a:pt x="4038" y="6380"/>
                </a:lnTo>
                <a:lnTo>
                  <a:pt x="4107" y="6509"/>
                </a:lnTo>
                <a:lnTo>
                  <a:pt x="4167" y="6550"/>
                </a:lnTo>
                <a:lnTo>
                  <a:pt x="4233" y="6588"/>
                </a:lnTo>
                <a:lnTo>
                  <a:pt x="4397" y="6491"/>
                </a:lnTo>
                <a:lnTo>
                  <a:pt x="4449" y="6423"/>
                </a:lnTo>
                <a:lnTo>
                  <a:pt x="4459" y="6343"/>
                </a:lnTo>
                <a:lnTo>
                  <a:pt x="4581" y="6243"/>
                </a:lnTo>
                <a:lnTo>
                  <a:pt x="4623" y="6163"/>
                </a:lnTo>
                <a:lnTo>
                  <a:pt x="4649" y="6004"/>
                </a:lnTo>
                <a:lnTo>
                  <a:pt x="4733" y="5886"/>
                </a:lnTo>
                <a:lnTo>
                  <a:pt x="4815" y="5737"/>
                </a:lnTo>
                <a:lnTo>
                  <a:pt x="4916" y="5732"/>
                </a:lnTo>
                <a:lnTo>
                  <a:pt x="5101" y="5568"/>
                </a:lnTo>
                <a:lnTo>
                  <a:pt x="5306" y="5393"/>
                </a:lnTo>
                <a:lnTo>
                  <a:pt x="5451" y="5287"/>
                </a:lnTo>
                <a:lnTo>
                  <a:pt x="5379" y="5259"/>
                </a:lnTo>
                <a:lnTo>
                  <a:pt x="5205" y="5238"/>
                </a:lnTo>
                <a:lnTo>
                  <a:pt x="5128" y="5148"/>
                </a:lnTo>
                <a:lnTo>
                  <a:pt x="5227" y="5063"/>
                </a:lnTo>
                <a:lnTo>
                  <a:pt x="5260" y="4984"/>
                </a:lnTo>
                <a:lnTo>
                  <a:pt x="5466" y="4908"/>
                </a:lnTo>
                <a:lnTo>
                  <a:pt x="5602" y="4878"/>
                </a:lnTo>
                <a:lnTo>
                  <a:pt x="5635" y="4745"/>
                </a:lnTo>
                <a:lnTo>
                  <a:pt x="5702" y="4710"/>
                </a:lnTo>
                <a:lnTo>
                  <a:pt x="5814" y="4604"/>
                </a:lnTo>
                <a:lnTo>
                  <a:pt x="5885" y="4530"/>
                </a:lnTo>
                <a:lnTo>
                  <a:pt x="5856" y="4478"/>
                </a:lnTo>
                <a:lnTo>
                  <a:pt x="5890" y="4403"/>
                </a:lnTo>
                <a:lnTo>
                  <a:pt x="5969" y="4281"/>
                </a:lnTo>
                <a:lnTo>
                  <a:pt x="5947" y="4235"/>
                </a:lnTo>
                <a:lnTo>
                  <a:pt x="5692" y="4286"/>
                </a:lnTo>
                <a:lnTo>
                  <a:pt x="5540" y="4334"/>
                </a:lnTo>
                <a:lnTo>
                  <a:pt x="5406" y="4267"/>
                </a:lnTo>
                <a:lnTo>
                  <a:pt x="5259" y="4378"/>
                </a:lnTo>
                <a:lnTo>
                  <a:pt x="5113" y="4456"/>
                </a:lnTo>
                <a:lnTo>
                  <a:pt x="5009" y="4481"/>
                </a:lnTo>
                <a:lnTo>
                  <a:pt x="4917" y="4456"/>
                </a:lnTo>
                <a:lnTo>
                  <a:pt x="4844" y="4380"/>
                </a:lnTo>
                <a:lnTo>
                  <a:pt x="4822" y="4257"/>
                </a:lnTo>
                <a:lnTo>
                  <a:pt x="4725" y="4331"/>
                </a:lnTo>
                <a:lnTo>
                  <a:pt x="4480" y="4427"/>
                </a:lnTo>
                <a:lnTo>
                  <a:pt x="4351" y="4410"/>
                </a:lnTo>
                <a:lnTo>
                  <a:pt x="4333" y="4351"/>
                </a:lnTo>
                <a:lnTo>
                  <a:pt x="4517" y="4186"/>
                </a:lnTo>
                <a:lnTo>
                  <a:pt x="4701" y="4094"/>
                </a:lnTo>
                <a:lnTo>
                  <a:pt x="4855" y="4043"/>
                </a:lnTo>
                <a:lnTo>
                  <a:pt x="4974" y="4040"/>
                </a:lnTo>
                <a:lnTo>
                  <a:pt x="5028" y="3947"/>
                </a:lnTo>
                <a:lnTo>
                  <a:pt x="5100" y="3813"/>
                </a:lnTo>
                <a:lnTo>
                  <a:pt x="5202" y="3722"/>
                </a:lnTo>
                <a:lnTo>
                  <a:pt x="5294" y="3619"/>
                </a:lnTo>
                <a:lnTo>
                  <a:pt x="5391" y="3560"/>
                </a:lnTo>
                <a:lnTo>
                  <a:pt x="5490" y="3483"/>
                </a:lnTo>
                <a:lnTo>
                  <a:pt x="5635" y="3345"/>
                </a:lnTo>
                <a:lnTo>
                  <a:pt x="5677" y="3240"/>
                </a:lnTo>
                <a:lnTo>
                  <a:pt x="5804" y="3212"/>
                </a:lnTo>
                <a:lnTo>
                  <a:pt x="5955" y="3188"/>
                </a:lnTo>
                <a:lnTo>
                  <a:pt x="6051" y="3091"/>
                </a:lnTo>
                <a:lnTo>
                  <a:pt x="6208" y="3111"/>
                </a:lnTo>
                <a:lnTo>
                  <a:pt x="6298" y="3149"/>
                </a:lnTo>
                <a:lnTo>
                  <a:pt x="6407" y="3237"/>
                </a:lnTo>
                <a:lnTo>
                  <a:pt x="6472" y="3328"/>
                </a:lnTo>
                <a:lnTo>
                  <a:pt x="6444" y="3402"/>
                </a:lnTo>
                <a:lnTo>
                  <a:pt x="6536" y="3415"/>
                </a:lnTo>
                <a:lnTo>
                  <a:pt x="6569" y="3471"/>
                </a:lnTo>
                <a:lnTo>
                  <a:pt x="6528" y="3558"/>
                </a:lnTo>
                <a:lnTo>
                  <a:pt x="6593" y="3636"/>
                </a:lnTo>
                <a:lnTo>
                  <a:pt x="6650" y="3658"/>
                </a:lnTo>
                <a:lnTo>
                  <a:pt x="6752" y="3725"/>
                </a:lnTo>
                <a:lnTo>
                  <a:pt x="6822" y="3747"/>
                </a:lnTo>
                <a:lnTo>
                  <a:pt x="6745" y="3803"/>
                </a:lnTo>
                <a:lnTo>
                  <a:pt x="6734" y="3885"/>
                </a:lnTo>
                <a:lnTo>
                  <a:pt x="6799" y="4000"/>
                </a:lnTo>
                <a:lnTo>
                  <a:pt x="6876" y="4010"/>
                </a:lnTo>
                <a:lnTo>
                  <a:pt x="6978" y="3973"/>
                </a:lnTo>
                <a:lnTo>
                  <a:pt x="7050" y="4016"/>
                </a:lnTo>
                <a:lnTo>
                  <a:pt x="7134" y="4016"/>
                </a:lnTo>
                <a:lnTo>
                  <a:pt x="7244" y="3951"/>
                </a:lnTo>
                <a:lnTo>
                  <a:pt x="7303" y="3880"/>
                </a:lnTo>
                <a:lnTo>
                  <a:pt x="7350" y="3811"/>
                </a:lnTo>
                <a:lnTo>
                  <a:pt x="7172" y="3789"/>
                </a:lnTo>
                <a:lnTo>
                  <a:pt x="7055" y="3737"/>
                </a:lnTo>
                <a:lnTo>
                  <a:pt x="6970" y="3668"/>
                </a:lnTo>
                <a:lnTo>
                  <a:pt x="7105" y="3629"/>
                </a:lnTo>
                <a:lnTo>
                  <a:pt x="7212" y="3659"/>
                </a:lnTo>
                <a:lnTo>
                  <a:pt x="7350" y="3616"/>
                </a:lnTo>
                <a:lnTo>
                  <a:pt x="7268" y="3528"/>
                </a:lnTo>
                <a:lnTo>
                  <a:pt x="7427" y="3557"/>
                </a:lnTo>
                <a:lnTo>
                  <a:pt x="7515" y="3476"/>
                </a:lnTo>
                <a:lnTo>
                  <a:pt x="7564" y="3533"/>
                </a:lnTo>
                <a:lnTo>
                  <a:pt x="7778" y="3513"/>
                </a:lnTo>
                <a:lnTo>
                  <a:pt x="7875" y="3488"/>
                </a:lnTo>
                <a:lnTo>
                  <a:pt x="7940" y="3441"/>
                </a:lnTo>
                <a:lnTo>
                  <a:pt x="7870" y="3360"/>
                </a:lnTo>
                <a:lnTo>
                  <a:pt x="7709" y="3308"/>
                </a:lnTo>
                <a:lnTo>
                  <a:pt x="7609" y="3343"/>
                </a:lnTo>
                <a:lnTo>
                  <a:pt x="7480" y="3368"/>
                </a:lnTo>
                <a:lnTo>
                  <a:pt x="7348" y="3311"/>
                </a:lnTo>
                <a:lnTo>
                  <a:pt x="7381" y="3272"/>
                </a:lnTo>
                <a:lnTo>
                  <a:pt x="7289" y="3212"/>
                </a:lnTo>
                <a:lnTo>
                  <a:pt x="7427" y="3247"/>
                </a:lnTo>
                <a:lnTo>
                  <a:pt x="7535" y="3188"/>
                </a:lnTo>
                <a:lnTo>
                  <a:pt x="7545" y="3139"/>
                </a:lnTo>
                <a:lnTo>
                  <a:pt x="7453" y="3119"/>
                </a:lnTo>
                <a:lnTo>
                  <a:pt x="7517" y="3050"/>
                </a:lnTo>
                <a:lnTo>
                  <a:pt x="7562" y="2971"/>
                </a:lnTo>
                <a:lnTo>
                  <a:pt x="7703" y="2915"/>
                </a:lnTo>
                <a:lnTo>
                  <a:pt x="7743" y="2862"/>
                </a:lnTo>
                <a:lnTo>
                  <a:pt x="7860" y="2850"/>
                </a:lnTo>
                <a:lnTo>
                  <a:pt x="7927" y="2830"/>
                </a:lnTo>
                <a:lnTo>
                  <a:pt x="7952" y="2791"/>
                </a:lnTo>
                <a:lnTo>
                  <a:pt x="8004" y="2740"/>
                </a:lnTo>
                <a:lnTo>
                  <a:pt x="7994" y="2693"/>
                </a:lnTo>
                <a:lnTo>
                  <a:pt x="7892" y="2708"/>
                </a:lnTo>
                <a:lnTo>
                  <a:pt x="7885" y="2633"/>
                </a:lnTo>
                <a:lnTo>
                  <a:pt x="8012" y="2628"/>
                </a:lnTo>
                <a:lnTo>
                  <a:pt x="8036" y="2582"/>
                </a:lnTo>
                <a:lnTo>
                  <a:pt x="8166" y="2471"/>
                </a:lnTo>
                <a:lnTo>
                  <a:pt x="8290" y="2421"/>
                </a:lnTo>
                <a:lnTo>
                  <a:pt x="8267" y="2506"/>
                </a:lnTo>
                <a:lnTo>
                  <a:pt x="8394" y="2496"/>
                </a:lnTo>
                <a:lnTo>
                  <a:pt x="8439" y="2459"/>
                </a:lnTo>
                <a:lnTo>
                  <a:pt x="8531" y="2427"/>
                </a:lnTo>
                <a:lnTo>
                  <a:pt x="8697" y="2385"/>
                </a:lnTo>
                <a:lnTo>
                  <a:pt x="8821" y="2375"/>
                </a:lnTo>
                <a:lnTo>
                  <a:pt x="8893" y="2348"/>
                </a:lnTo>
                <a:lnTo>
                  <a:pt x="8888" y="2313"/>
                </a:lnTo>
                <a:lnTo>
                  <a:pt x="8945" y="2266"/>
                </a:lnTo>
                <a:lnTo>
                  <a:pt x="9017" y="2330"/>
                </a:lnTo>
                <a:lnTo>
                  <a:pt x="9037" y="2235"/>
                </a:lnTo>
                <a:lnTo>
                  <a:pt x="9204" y="2279"/>
                </a:lnTo>
                <a:lnTo>
                  <a:pt x="9251" y="2274"/>
                </a:lnTo>
                <a:lnTo>
                  <a:pt x="9229" y="2224"/>
                </a:lnTo>
                <a:lnTo>
                  <a:pt x="9256" y="2185"/>
                </a:lnTo>
                <a:lnTo>
                  <a:pt x="9326" y="2210"/>
                </a:lnTo>
                <a:lnTo>
                  <a:pt x="9405" y="2153"/>
                </a:lnTo>
                <a:lnTo>
                  <a:pt x="9469" y="2082"/>
                </a:lnTo>
                <a:lnTo>
                  <a:pt x="9568" y="2067"/>
                </a:lnTo>
                <a:lnTo>
                  <a:pt x="9626" y="2017"/>
                </a:lnTo>
                <a:lnTo>
                  <a:pt x="9661" y="1961"/>
                </a:lnTo>
                <a:lnTo>
                  <a:pt x="9733" y="1954"/>
                </a:lnTo>
                <a:lnTo>
                  <a:pt x="9855" y="1981"/>
                </a:lnTo>
                <a:lnTo>
                  <a:pt x="9984" y="1983"/>
                </a:lnTo>
                <a:lnTo>
                  <a:pt x="10058" y="1986"/>
                </a:lnTo>
                <a:lnTo>
                  <a:pt x="10163" y="2003"/>
                </a:lnTo>
                <a:lnTo>
                  <a:pt x="10242" y="1976"/>
                </a:lnTo>
                <a:lnTo>
                  <a:pt x="10294" y="1985"/>
                </a:lnTo>
                <a:lnTo>
                  <a:pt x="10418" y="1983"/>
                </a:lnTo>
                <a:lnTo>
                  <a:pt x="10554" y="2010"/>
                </a:lnTo>
                <a:lnTo>
                  <a:pt x="10617" y="1996"/>
                </a:lnTo>
                <a:lnTo>
                  <a:pt x="10713" y="2013"/>
                </a:lnTo>
                <a:lnTo>
                  <a:pt x="10709" y="2038"/>
                </a:lnTo>
                <a:lnTo>
                  <a:pt x="10813" y="2045"/>
                </a:lnTo>
                <a:lnTo>
                  <a:pt x="10841" y="2023"/>
                </a:lnTo>
                <a:lnTo>
                  <a:pt x="10883" y="2074"/>
                </a:lnTo>
                <a:lnTo>
                  <a:pt x="10972" y="2102"/>
                </a:lnTo>
                <a:lnTo>
                  <a:pt x="11072" y="2049"/>
                </a:lnTo>
                <a:lnTo>
                  <a:pt x="11128" y="2060"/>
                </a:lnTo>
                <a:lnTo>
                  <a:pt x="11255" y="2023"/>
                </a:lnTo>
                <a:lnTo>
                  <a:pt x="11319" y="2018"/>
                </a:lnTo>
                <a:lnTo>
                  <a:pt x="11396" y="1978"/>
                </a:lnTo>
                <a:lnTo>
                  <a:pt x="11426" y="1929"/>
                </a:lnTo>
                <a:lnTo>
                  <a:pt x="11523" y="1895"/>
                </a:lnTo>
                <a:lnTo>
                  <a:pt x="11642" y="1912"/>
                </a:lnTo>
                <a:lnTo>
                  <a:pt x="11700" y="1867"/>
                </a:lnTo>
                <a:lnTo>
                  <a:pt x="11620" y="1818"/>
                </a:lnTo>
                <a:lnTo>
                  <a:pt x="11568" y="1764"/>
                </a:lnTo>
                <a:lnTo>
                  <a:pt x="11534" y="1707"/>
                </a:lnTo>
                <a:lnTo>
                  <a:pt x="11457" y="1656"/>
                </a:lnTo>
                <a:lnTo>
                  <a:pt x="11414" y="1589"/>
                </a:lnTo>
                <a:lnTo>
                  <a:pt x="11573" y="1608"/>
                </a:lnTo>
                <a:lnTo>
                  <a:pt x="11546" y="1655"/>
                </a:lnTo>
                <a:lnTo>
                  <a:pt x="11606" y="1665"/>
                </a:lnTo>
                <a:lnTo>
                  <a:pt x="11789" y="1648"/>
                </a:lnTo>
                <a:lnTo>
                  <a:pt x="11911" y="1631"/>
                </a:lnTo>
                <a:lnTo>
                  <a:pt x="11839" y="1559"/>
                </a:lnTo>
                <a:lnTo>
                  <a:pt x="11824" y="1517"/>
                </a:lnTo>
                <a:lnTo>
                  <a:pt x="11717" y="1473"/>
                </a:lnTo>
                <a:lnTo>
                  <a:pt x="11601" y="1464"/>
                </a:lnTo>
                <a:lnTo>
                  <a:pt x="11546" y="1436"/>
                </a:lnTo>
                <a:lnTo>
                  <a:pt x="11516" y="1453"/>
                </a:lnTo>
                <a:lnTo>
                  <a:pt x="11426" y="1461"/>
                </a:lnTo>
                <a:lnTo>
                  <a:pt x="11377" y="1456"/>
                </a:lnTo>
                <a:lnTo>
                  <a:pt x="11446" y="1429"/>
                </a:lnTo>
                <a:lnTo>
                  <a:pt x="11404" y="1407"/>
                </a:lnTo>
                <a:lnTo>
                  <a:pt x="11401" y="1363"/>
                </a:lnTo>
                <a:lnTo>
                  <a:pt x="11469" y="1343"/>
                </a:lnTo>
                <a:lnTo>
                  <a:pt x="11528" y="1358"/>
                </a:lnTo>
                <a:lnTo>
                  <a:pt x="11608" y="1326"/>
                </a:lnTo>
                <a:lnTo>
                  <a:pt x="11660" y="1348"/>
                </a:lnTo>
                <a:lnTo>
                  <a:pt x="11730" y="1353"/>
                </a:lnTo>
                <a:lnTo>
                  <a:pt x="11777" y="1315"/>
                </a:lnTo>
                <a:lnTo>
                  <a:pt x="11866" y="1281"/>
                </a:lnTo>
                <a:lnTo>
                  <a:pt x="11921" y="1241"/>
                </a:lnTo>
                <a:lnTo>
                  <a:pt x="11868" y="1193"/>
                </a:lnTo>
                <a:lnTo>
                  <a:pt x="11888" y="1150"/>
                </a:lnTo>
                <a:lnTo>
                  <a:pt x="11834" y="1119"/>
                </a:lnTo>
                <a:lnTo>
                  <a:pt x="11771" y="1071"/>
                </a:lnTo>
                <a:lnTo>
                  <a:pt x="11645" y="1067"/>
                </a:lnTo>
                <a:lnTo>
                  <a:pt x="11595" y="1032"/>
                </a:lnTo>
                <a:lnTo>
                  <a:pt x="11622" y="1007"/>
                </a:lnTo>
                <a:lnTo>
                  <a:pt x="11628" y="961"/>
                </a:lnTo>
                <a:lnTo>
                  <a:pt x="11568" y="954"/>
                </a:lnTo>
                <a:lnTo>
                  <a:pt x="11464" y="973"/>
                </a:lnTo>
                <a:lnTo>
                  <a:pt x="11437" y="933"/>
                </a:lnTo>
                <a:lnTo>
                  <a:pt x="11406" y="956"/>
                </a:lnTo>
                <a:lnTo>
                  <a:pt x="11350" y="912"/>
                </a:lnTo>
                <a:lnTo>
                  <a:pt x="11293" y="936"/>
                </a:lnTo>
                <a:lnTo>
                  <a:pt x="11263" y="919"/>
                </a:lnTo>
                <a:lnTo>
                  <a:pt x="11149" y="936"/>
                </a:lnTo>
                <a:lnTo>
                  <a:pt x="11205" y="894"/>
                </a:lnTo>
                <a:lnTo>
                  <a:pt x="11231" y="840"/>
                </a:lnTo>
                <a:lnTo>
                  <a:pt x="11312" y="820"/>
                </a:lnTo>
                <a:lnTo>
                  <a:pt x="11337" y="808"/>
                </a:lnTo>
                <a:lnTo>
                  <a:pt x="11489" y="779"/>
                </a:lnTo>
                <a:lnTo>
                  <a:pt x="11548" y="757"/>
                </a:lnTo>
                <a:lnTo>
                  <a:pt x="11678" y="766"/>
                </a:lnTo>
                <a:lnTo>
                  <a:pt x="11804" y="746"/>
                </a:lnTo>
                <a:lnTo>
                  <a:pt x="11914" y="742"/>
                </a:lnTo>
                <a:lnTo>
                  <a:pt x="12045" y="732"/>
                </a:lnTo>
                <a:lnTo>
                  <a:pt x="12033" y="719"/>
                </a:lnTo>
                <a:lnTo>
                  <a:pt x="11842" y="707"/>
                </a:lnTo>
                <a:lnTo>
                  <a:pt x="11745" y="715"/>
                </a:lnTo>
                <a:lnTo>
                  <a:pt x="11630" y="724"/>
                </a:lnTo>
                <a:lnTo>
                  <a:pt x="11526" y="731"/>
                </a:lnTo>
                <a:lnTo>
                  <a:pt x="11456" y="719"/>
                </a:lnTo>
                <a:lnTo>
                  <a:pt x="11327" y="736"/>
                </a:lnTo>
                <a:lnTo>
                  <a:pt x="11287" y="766"/>
                </a:lnTo>
                <a:lnTo>
                  <a:pt x="11121" y="791"/>
                </a:lnTo>
                <a:lnTo>
                  <a:pt x="11093" y="821"/>
                </a:lnTo>
                <a:lnTo>
                  <a:pt x="10989" y="838"/>
                </a:lnTo>
                <a:lnTo>
                  <a:pt x="10880" y="867"/>
                </a:lnTo>
                <a:lnTo>
                  <a:pt x="10786" y="919"/>
                </a:lnTo>
                <a:lnTo>
                  <a:pt x="10857" y="958"/>
                </a:lnTo>
                <a:lnTo>
                  <a:pt x="10719" y="1013"/>
                </a:lnTo>
                <a:lnTo>
                  <a:pt x="10657" y="1067"/>
                </a:lnTo>
                <a:lnTo>
                  <a:pt x="10545" y="1116"/>
                </a:lnTo>
                <a:lnTo>
                  <a:pt x="10518" y="1096"/>
                </a:lnTo>
                <a:lnTo>
                  <a:pt x="10614" y="1069"/>
                </a:lnTo>
                <a:lnTo>
                  <a:pt x="10651" y="988"/>
                </a:lnTo>
                <a:lnTo>
                  <a:pt x="10636" y="943"/>
                </a:lnTo>
                <a:lnTo>
                  <a:pt x="10530" y="963"/>
                </a:lnTo>
                <a:lnTo>
                  <a:pt x="10450" y="991"/>
                </a:lnTo>
                <a:lnTo>
                  <a:pt x="10343" y="1015"/>
                </a:lnTo>
                <a:lnTo>
                  <a:pt x="10292" y="1023"/>
                </a:lnTo>
                <a:lnTo>
                  <a:pt x="10321" y="1077"/>
                </a:lnTo>
                <a:lnTo>
                  <a:pt x="10224" y="1103"/>
                </a:lnTo>
                <a:lnTo>
                  <a:pt x="10107" y="1077"/>
                </a:lnTo>
                <a:lnTo>
                  <a:pt x="9916" y="1062"/>
                </a:lnTo>
                <a:lnTo>
                  <a:pt x="9790" y="1087"/>
                </a:lnTo>
                <a:lnTo>
                  <a:pt x="9618" y="1087"/>
                </a:lnTo>
                <a:lnTo>
                  <a:pt x="9522" y="1089"/>
                </a:lnTo>
                <a:lnTo>
                  <a:pt x="9290" y="1054"/>
                </a:lnTo>
                <a:lnTo>
                  <a:pt x="9166" y="1059"/>
                </a:lnTo>
                <a:lnTo>
                  <a:pt x="9015" y="1096"/>
                </a:lnTo>
                <a:lnTo>
                  <a:pt x="8921" y="1116"/>
                </a:lnTo>
                <a:lnTo>
                  <a:pt x="8823" y="1069"/>
                </a:lnTo>
                <a:lnTo>
                  <a:pt x="8654" y="1057"/>
                </a:lnTo>
                <a:lnTo>
                  <a:pt x="8578" y="1015"/>
                </a:lnTo>
                <a:lnTo>
                  <a:pt x="8473" y="1025"/>
                </a:lnTo>
                <a:lnTo>
                  <a:pt x="8397" y="1022"/>
                </a:lnTo>
                <a:lnTo>
                  <a:pt x="8364" y="997"/>
                </a:lnTo>
                <a:lnTo>
                  <a:pt x="8200" y="1002"/>
                </a:lnTo>
                <a:lnTo>
                  <a:pt x="8133" y="970"/>
                </a:lnTo>
                <a:lnTo>
                  <a:pt x="7974" y="1000"/>
                </a:lnTo>
                <a:lnTo>
                  <a:pt x="7950" y="968"/>
                </a:lnTo>
                <a:lnTo>
                  <a:pt x="7837" y="954"/>
                </a:lnTo>
                <a:lnTo>
                  <a:pt x="7617" y="1017"/>
                </a:lnTo>
                <a:lnTo>
                  <a:pt x="7514" y="1035"/>
                </a:lnTo>
                <a:lnTo>
                  <a:pt x="7239" y="1098"/>
                </a:lnTo>
                <a:lnTo>
                  <a:pt x="7226" y="1104"/>
                </a:lnTo>
                <a:lnTo>
                  <a:pt x="7130" y="1098"/>
                </a:lnTo>
                <a:lnTo>
                  <a:pt x="7057" y="1086"/>
                </a:lnTo>
                <a:lnTo>
                  <a:pt x="7065" y="1066"/>
                </a:lnTo>
                <a:lnTo>
                  <a:pt x="7189" y="1062"/>
                </a:lnTo>
                <a:lnTo>
                  <a:pt x="7368" y="1000"/>
                </a:lnTo>
                <a:lnTo>
                  <a:pt x="7370" y="988"/>
                </a:lnTo>
                <a:lnTo>
                  <a:pt x="7306" y="990"/>
                </a:lnTo>
                <a:lnTo>
                  <a:pt x="7214" y="983"/>
                </a:lnTo>
                <a:lnTo>
                  <a:pt x="7107" y="961"/>
                </a:lnTo>
                <a:lnTo>
                  <a:pt x="7020" y="917"/>
                </a:lnTo>
                <a:lnTo>
                  <a:pt x="7008" y="882"/>
                </a:lnTo>
                <a:lnTo>
                  <a:pt x="6924" y="890"/>
                </a:lnTo>
                <a:lnTo>
                  <a:pt x="6869" y="885"/>
                </a:lnTo>
                <a:lnTo>
                  <a:pt x="6847" y="869"/>
                </a:lnTo>
                <a:lnTo>
                  <a:pt x="6749" y="896"/>
                </a:lnTo>
                <a:lnTo>
                  <a:pt x="6685" y="902"/>
                </a:lnTo>
                <a:lnTo>
                  <a:pt x="6538" y="949"/>
                </a:lnTo>
                <a:lnTo>
                  <a:pt x="6462" y="978"/>
                </a:lnTo>
                <a:lnTo>
                  <a:pt x="6454" y="976"/>
                </a:lnTo>
                <a:cubicBezTo>
                  <a:pt x="7774" y="389"/>
                  <a:pt x="9229" y="54"/>
                  <a:pt x="10763" y="54"/>
                </a:cubicBezTo>
                <a:close/>
                <a:moveTo>
                  <a:pt x="21158" y="13241"/>
                </a:moveTo>
                <a:lnTo>
                  <a:pt x="21200" y="13072"/>
                </a:lnTo>
                <a:lnTo>
                  <a:pt x="21227" y="12906"/>
                </a:lnTo>
                <a:lnTo>
                  <a:pt x="21250" y="12737"/>
                </a:lnTo>
                <a:lnTo>
                  <a:pt x="21239" y="12744"/>
                </a:lnTo>
                <a:lnTo>
                  <a:pt x="21212" y="12845"/>
                </a:lnTo>
                <a:lnTo>
                  <a:pt x="21202" y="12838"/>
                </a:lnTo>
                <a:lnTo>
                  <a:pt x="21197" y="12790"/>
                </a:lnTo>
                <a:lnTo>
                  <a:pt x="21183" y="12842"/>
                </a:lnTo>
                <a:lnTo>
                  <a:pt x="21158" y="12891"/>
                </a:lnTo>
                <a:lnTo>
                  <a:pt x="21177" y="12743"/>
                </a:lnTo>
                <a:lnTo>
                  <a:pt x="21143" y="12808"/>
                </a:lnTo>
                <a:lnTo>
                  <a:pt x="21115" y="12805"/>
                </a:lnTo>
                <a:lnTo>
                  <a:pt x="21069" y="12855"/>
                </a:lnTo>
                <a:lnTo>
                  <a:pt x="21018" y="13003"/>
                </a:lnTo>
                <a:lnTo>
                  <a:pt x="20959" y="13025"/>
                </a:lnTo>
                <a:lnTo>
                  <a:pt x="20922" y="13061"/>
                </a:lnTo>
                <a:lnTo>
                  <a:pt x="20870" y="13099"/>
                </a:lnTo>
                <a:lnTo>
                  <a:pt x="20802" y="13120"/>
                </a:lnTo>
                <a:lnTo>
                  <a:pt x="20698" y="13320"/>
                </a:lnTo>
                <a:lnTo>
                  <a:pt x="20654" y="13407"/>
                </a:lnTo>
                <a:lnTo>
                  <a:pt x="20668" y="13451"/>
                </a:lnTo>
                <a:lnTo>
                  <a:pt x="20753" y="13424"/>
                </a:lnTo>
                <a:lnTo>
                  <a:pt x="20807" y="13377"/>
                </a:lnTo>
                <a:lnTo>
                  <a:pt x="20847" y="13396"/>
                </a:lnTo>
                <a:lnTo>
                  <a:pt x="20905" y="13333"/>
                </a:lnTo>
                <a:lnTo>
                  <a:pt x="20930" y="13364"/>
                </a:lnTo>
                <a:lnTo>
                  <a:pt x="20949" y="13412"/>
                </a:lnTo>
                <a:lnTo>
                  <a:pt x="20997" y="13374"/>
                </a:lnTo>
                <a:lnTo>
                  <a:pt x="21033" y="13409"/>
                </a:lnTo>
                <a:lnTo>
                  <a:pt x="21051" y="13414"/>
                </a:lnTo>
                <a:lnTo>
                  <a:pt x="21081" y="13387"/>
                </a:lnTo>
                <a:lnTo>
                  <a:pt x="21093" y="13387"/>
                </a:lnTo>
                <a:lnTo>
                  <a:pt x="21138" y="13281"/>
                </a:lnTo>
                <a:lnTo>
                  <a:pt x="21158" y="13241"/>
                </a:lnTo>
                <a:close/>
                <a:moveTo>
                  <a:pt x="11858" y="316"/>
                </a:moveTo>
                <a:lnTo>
                  <a:pt x="11856" y="327"/>
                </a:lnTo>
                <a:lnTo>
                  <a:pt x="11878" y="332"/>
                </a:lnTo>
                <a:lnTo>
                  <a:pt x="11933" y="330"/>
                </a:lnTo>
                <a:lnTo>
                  <a:pt x="11925" y="327"/>
                </a:lnTo>
                <a:lnTo>
                  <a:pt x="11898" y="320"/>
                </a:lnTo>
                <a:lnTo>
                  <a:pt x="11858" y="316"/>
                </a:lnTo>
                <a:close/>
                <a:moveTo>
                  <a:pt x="11630" y="318"/>
                </a:moveTo>
                <a:lnTo>
                  <a:pt x="11616" y="320"/>
                </a:lnTo>
                <a:lnTo>
                  <a:pt x="11568" y="332"/>
                </a:lnTo>
                <a:lnTo>
                  <a:pt x="11578" y="335"/>
                </a:lnTo>
                <a:lnTo>
                  <a:pt x="11590" y="335"/>
                </a:lnTo>
                <a:lnTo>
                  <a:pt x="11650" y="338"/>
                </a:lnTo>
                <a:lnTo>
                  <a:pt x="11670" y="330"/>
                </a:lnTo>
                <a:lnTo>
                  <a:pt x="11677" y="328"/>
                </a:lnTo>
                <a:lnTo>
                  <a:pt x="11630" y="318"/>
                </a:lnTo>
                <a:close/>
                <a:moveTo>
                  <a:pt x="11412" y="328"/>
                </a:moveTo>
                <a:lnTo>
                  <a:pt x="11419" y="333"/>
                </a:lnTo>
                <a:lnTo>
                  <a:pt x="11511" y="338"/>
                </a:lnTo>
                <a:lnTo>
                  <a:pt x="11498" y="332"/>
                </a:lnTo>
                <a:lnTo>
                  <a:pt x="11412" y="328"/>
                </a:lnTo>
                <a:close/>
                <a:moveTo>
                  <a:pt x="11327" y="335"/>
                </a:moveTo>
                <a:lnTo>
                  <a:pt x="11282" y="340"/>
                </a:lnTo>
                <a:lnTo>
                  <a:pt x="11297" y="347"/>
                </a:lnTo>
                <a:lnTo>
                  <a:pt x="11355" y="353"/>
                </a:lnTo>
                <a:lnTo>
                  <a:pt x="11385" y="345"/>
                </a:lnTo>
                <a:lnTo>
                  <a:pt x="11404" y="342"/>
                </a:lnTo>
                <a:lnTo>
                  <a:pt x="11406" y="340"/>
                </a:lnTo>
                <a:lnTo>
                  <a:pt x="11389" y="335"/>
                </a:lnTo>
                <a:lnTo>
                  <a:pt x="11327" y="335"/>
                </a:lnTo>
                <a:close/>
                <a:moveTo>
                  <a:pt x="11247" y="364"/>
                </a:moveTo>
                <a:lnTo>
                  <a:pt x="11180" y="369"/>
                </a:lnTo>
                <a:lnTo>
                  <a:pt x="11149" y="372"/>
                </a:lnTo>
                <a:lnTo>
                  <a:pt x="11121" y="377"/>
                </a:lnTo>
                <a:lnTo>
                  <a:pt x="11077" y="394"/>
                </a:lnTo>
                <a:lnTo>
                  <a:pt x="11081" y="397"/>
                </a:lnTo>
                <a:lnTo>
                  <a:pt x="11151" y="409"/>
                </a:lnTo>
                <a:lnTo>
                  <a:pt x="11208" y="419"/>
                </a:lnTo>
                <a:lnTo>
                  <a:pt x="11233" y="429"/>
                </a:lnTo>
                <a:lnTo>
                  <a:pt x="11277" y="423"/>
                </a:lnTo>
                <a:lnTo>
                  <a:pt x="11272" y="409"/>
                </a:lnTo>
                <a:lnTo>
                  <a:pt x="11298" y="392"/>
                </a:lnTo>
                <a:lnTo>
                  <a:pt x="11290" y="385"/>
                </a:lnTo>
                <a:lnTo>
                  <a:pt x="11258" y="377"/>
                </a:lnTo>
                <a:lnTo>
                  <a:pt x="11270" y="369"/>
                </a:lnTo>
                <a:lnTo>
                  <a:pt x="11260" y="364"/>
                </a:lnTo>
                <a:lnTo>
                  <a:pt x="11247" y="364"/>
                </a:lnTo>
                <a:close/>
                <a:moveTo>
                  <a:pt x="10862" y="766"/>
                </a:moveTo>
                <a:lnTo>
                  <a:pt x="10759" y="791"/>
                </a:lnTo>
                <a:lnTo>
                  <a:pt x="10672" y="826"/>
                </a:lnTo>
                <a:lnTo>
                  <a:pt x="10716" y="848"/>
                </a:lnTo>
                <a:lnTo>
                  <a:pt x="10781" y="853"/>
                </a:lnTo>
                <a:lnTo>
                  <a:pt x="10835" y="842"/>
                </a:lnTo>
                <a:lnTo>
                  <a:pt x="10927" y="818"/>
                </a:lnTo>
                <a:lnTo>
                  <a:pt x="10913" y="784"/>
                </a:lnTo>
                <a:lnTo>
                  <a:pt x="10862" y="766"/>
                </a:lnTo>
                <a:close/>
                <a:moveTo>
                  <a:pt x="8357" y="855"/>
                </a:moveTo>
                <a:lnTo>
                  <a:pt x="8315" y="869"/>
                </a:lnTo>
                <a:lnTo>
                  <a:pt x="8451" y="877"/>
                </a:lnTo>
                <a:lnTo>
                  <a:pt x="8481" y="946"/>
                </a:lnTo>
                <a:lnTo>
                  <a:pt x="8575" y="911"/>
                </a:lnTo>
                <a:lnTo>
                  <a:pt x="8630" y="902"/>
                </a:lnTo>
                <a:lnTo>
                  <a:pt x="8620" y="884"/>
                </a:lnTo>
                <a:lnTo>
                  <a:pt x="8578" y="867"/>
                </a:lnTo>
                <a:lnTo>
                  <a:pt x="8510" y="867"/>
                </a:lnTo>
                <a:lnTo>
                  <a:pt x="8446" y="855"/>
                </a:lnTo>
                <a:lnTo>
                  <a:pt x="8357" y="855"/>
                </a:lnTo>
                <a:close/>
                <a:moveTo>
                  <a:pt x="7853" y="896"/>
                </a:moveTo>
                <a:lnTo>
                  <a:pt x="7730" y="933"/>
                </a:lnTo>
                <a:lnTo>
                  <a:pt x="7693" y="931"/>
                </a:lnTo>
                <a:lnTo>
                  <a:pt x="7572" y="959"/>
                </a:lnTo>
                <a:lnTo>
                  <a:pt x="7517" y="961"/>
                </a:lnTo>
                <a:lnTo>
                  <a:pt x="7308" y="1027"/>
                </a:lnTo>
                <a:lnTo>
                  <a:pt x="7262" y="1055"/>
                </a:lnTo>
                <a:lnTo>
                  <a:pt x="7345" y="1052"/>
                </a:lnTo>
                <a:lnTo>
                  <a:pt x="7480" y="1017"/>
                </a:lnTo>
                <a:lnTo>
                  <a:pt x="7564" y="1010"/>
                </a:lnTo>
                <a:lnTo>
                  <a:pt x="7624" y="1007"/>
                </a:lnTo>
                <a:lnTo>
                  <a:pt x="7731" y="970"/>
                </a:lnTo>
                <a:lnTo>
                  <a:pt x="7807" y="949"/>
                </a:lnTo>
                <a:lnTo>
                  <a:pt x="7932" y="914"/>
                </a:lnTo>
                <a:lnTo>
                  <a:pt x="7927" y="901"/>
                </a:lnTo>
                <a:lnTo>
                  <a:pt x="7853" y="896"/>
                </a:lnTo>
                <a:close/>
                <a:moveTo>
                  <a:pt x="11991" y="1106"/>
                </a:moveTo>
                <a:lnTo>
                  <a:pt x="11930" y="1108"/>
                </a:lnTo>
                <a:lnTo>
                  <a:pt x="11925" y="1138"/>
                </a:lnTo>
                <a:lnTo>
                  <a:pt x="11993" y="1160"/>
                </a:lnTo>
                <a:lnTo>
                  <a:pt x="12089" y="1165"/>
                </a:lnTo>
                <a:lnTo>
                  <a:pt x="12045" y="1133"/>
                </a:lnTo>
                <a:lnTo>
                  <a:pt x="11991" y="1106"/>
                </a:lnTo>
                <a:close/>
                <a:moveTo>
                  <a:pt x="12145" y="1424"/>
                </a:moveTo>
                <a:lnTo>
                  <a:pt x="12073" y="1426"/>
                </a:lnTo>
                <a:lnTo>
                  <a:pt x="12062" y="1434"/>
                </a:lnTo>
                <a:lnTo>
                  <a:pt x="12135" y="1464"/>
                </a:lnTo>
                <a:lnTo>
                  <a:pt x="12187" y="1503"/>
                </a:lnTo>
                <a:lnTo>
                  <a:pt x="12243" y="1507"/>
                </a:lnTo>
                <a:lnTo>
                  <a:pt x="12281" y="1537"/>
                </a:lnTo>
                <a:lnTo>
                  <a:pt x="12306" y="1507"/>
                </a:lnTo>
                <a:lnTo>
                  <a:pt x="12291" y="1495"/>
                </a:lnTo>
                <a:lnTo>
                  <a:pt x="12217" y="1480"/>
                </a:lnTo>
                <a:lnTo>
                  <a:pt x="12197" y="1458"/>
                </a:lnTo>
                <a:lnTo>
                  <a:pt x="12145" y="1424"/>
                </a:lnTo>
                <a:close/>
                <a:moveTo>
                  <a:pt x="12350" y="1602"/>
                </a:moveTo>
                <a:lnTo>
                  <a:pt x="12306" y="1611"/>
                </a:lnTo>
                <a:lnTo>
                  <a:pt x="12249" y="1695"/>
                </a:lnTo>
                <a:lnTo>
                  <a:pt x="12124" y="1670"/>
                </a:lnTo>
                <a:lnTo>
                  <a:pt x="12028" y="1690"/>
                </a:lnTo>
                <a:lnTo>
                  <a:pt x="12119" y="1813"/>
                </a:lnTo>
                <a:lnTo>
                  <a:pt x="12296" y="1884"/>
                </a:lnTo>
                <a:lnTo>
                  <a:pt x="12326" y="1813"/>
                </a:lnTo>
                <a:lnTo>
                  <a:pt x="12356" y="1850"/>
                </a:lnTo>
                <a:lnTo>
                  <a:pt x="12311" y="1904"/>
                </a:lnTo>
                <a:lnTo>
                  <a:pt x="12415" y="2054"/>
                </a:lnTo>
                <a:lnTo>
                  <a:pt x="12507" y="2183"/>
                </a:lnTo>
                <a:lnTo>
                  <a:pt x="12554" y="2257"/>
                </a:lnTo>
                <a:lnTo>
                  <a:pt x="12676" y="2377"/>
                </a:lnTo>
                <a:lnTo>
                  <a:pt x="12795" y="2431"/>
                </a:lnTo>
                <a:lnTo>
                  <a:pt x="12934" y="2550"/>
                </a:lnTo>
                <a:lnTo>
                  <a:pt x="13004" y="2528"/>
                </a:lnTo>
                <a:lnTo>
                  <a:pt x="13028" y="2453"/>
                </a:lnTo>
                <a:lnTo>
                  <a:pt x="13128" y="2469"/>
                </a:lnTo>
                <a:lnTo>
                  <a:pt x="13123" y="2596"/>
                </a:lnTo>
                <a:lnTo>
                  <a:pt x="13230" y="2653"/>
                </a:lnTo>
                <a:lnTo>
                  <a:pt x="13299" y="2735"/>
                </a:lnTo>
                <a:lnTo>
                  <a:pt x="13386" y="2799"/>
                </a:lnTo>
                <a:lnTo>
                  <a:pt x="13473" y="2838"/>
                </a:lnTo>
                <a:lnTo>
                  <a:pt x="13491" y="2904"/>
                </a:lnTo>
                <a:lnTo>
                  <a:pt x="13393" y="2944"/>
                </a:lnTo>
                <a:lnTo>
                  <a:pt x="13372" y="3001"/>
                </a:lnTo>
                <a:lnTo>
                  <a:pt x="13431" y="3085"/>
                </a:lnTo>
                <a:lnTo>
                  <a:pt x="13609" y="3237"/>
                </a:lnTo>
                <a:lnTo>
                  <a:pt x="13587" y="3380"/>
                </a:lnTo>
                <a:lnTo>
                  <a:pt x="13527" y="3442"/>
                </a:lnTo>
                <a:lnTo>
                  <a:pt x="13662" y="3835"/>
                </a:lnTo>
                <a:lnTo>
                  <a:pt x="13761" y="3880"/>
                </a:lnTo>
                <a:lnTo>
                  <a:pt x="13898" y="3826"/>
                </a:lnTo>
                <a:lnTo>
                  <a:pt x="13912" y="3904"/>
                </a:lnTo>
                <a:lnTo>
                  <a:pt x="13973" y="3932"/>
                </a:lnTo>
                <a:lnTo>
                  <a:pt x="13960" y="4026"/>
                </a:lnTo>
                <a:lnTo>
                  <a:pt x="14037" y="4102"/>
                </a:lnTo>
                <a:lnTo>
                  <a:pt x="13987" y="4181"/>
                </a:lnTo>
                <a:lnTo>
                  <a:pt x="14181" y="4223"/>
                </a:lnTo>
                <a:lnTo>
                  <a:pt x="14134" y="4301"/>
                </a:lnTo>
                <a:lnTo>
                  <a:pt x="14012" y="4358"/>
                </a:lnTo>
                <a:lnTo>
                  <a:pt x="13933" y="4329"/>
                </a:lnTo>
                <a:lnTo>
                  <a:pt x="13826" y="4348"/>
                </a:lnTo>
                <a:lnTo>
                  <a:pt x="13749" y="4417"/>
                </a:lnTo>
                <a:lnTo>
                  <a:pt x="13764" y="4486"/>
                </a:lnTo>
                <a:lnTo>
                  <a:pt x="13747" y="4575"/>
                </a:lnTo>
                <a:lnTo>
                  <a:pt x="13883" y="4589"/>
                </a:lnTo>
                <a:lnTo>
                  <a:pt x="13873" y="4774"/>
                </a:lnTo>
                <a:lnTo>
                  <a:pt x="13789" y="4772"/>
                </a:lnTo>
                <a:lnTo>
                  <a:pt x="13761" y="4907"/>
                </a:lnTo>
                <a:lnTo>
                  <a:pt x="13786" y="4981"/>
                </a:lnTo>
                <a:lnTo>
                  <a:pt x="13831" y="5011"/>
                </a:lnTo>
                <a:lnTo>
                  <a:pt x="13714" y="5008"/>
                </a:lnTo>
                <a:lnTo>
                  <a:pt x="13744" y="5053"/>
                </a:lnTo>
                <a:lnTo>
                  <a:pt x="13692" y="5105"/>
                </a:lnTo>
                <a:lnTo>
                  <a:pt x="13659" y="5151"/>
                </a:lnTo>
                <a:lnTo>
                  <a:pt x="13610" y="5105"/>
                </a:lnTo>
                <a:lnTo>
                  <a:pt x="13523" y="4976"/>
                </a:lnTo>
                <a:lnTo>
                  <a:pt x="13473" y="4920"/>
                </a:lnTo>
                <a:lnTo>
                  <a:pt x="13379" y="4893"/>
                </a:lnTo>
                <a:lnTo>
                  <a:pt x="13309" y="4910"/>
                </a:lnTo>
                <a:lnTo>
                  <a:pt x="13213" y="4972"/>
                </a:lnTo>
                <a:lnTo>
                  <a:pt x="13195" y="5075"/>
                </a:lnTo>
                <a:lnTo>
                  <a:pt x="13232" y="5119"/>
                </a:lnTo>
                <a:lnTo>
                  <a:pt x="13141" y="5104"/>
                </a:lnTo>
                <a:lnTo>
                  <a:pt x="13095" y="5173"/>
                </a:lnTo>
                <a:lnTo>
                  <a:pt x="13063" y="5114"/>
                </a:lnTo>
                <a:lnTo>
                  <a:pt x="12991" y="5153"/>
                </a:lnTo>
                <a:lnTo>
                  <a:pt x="13041" y="5254"/>
                </a:lnTo>
                <a:lnTo>
                  <a:pt x="13105" y="5312"/>
                </a:lnTo>
                <a:lnTo>
                  <a:pt x="13177" y="5351"/>
                </a:lnTo>
                <a:lnTo>
                  <a:pt x="13150" y="5413"/>
                </a:lnTo>
                <a:lnTo>
                  <a:pt x="13208" y="5531"/>
                </a:lnTo>
                <a:lnTo>
                  <a:pt x="13157" y="5541"/>
                </a:lnTo>
                <a:lnTo>
                  <a:pt x="13128" y="5639"/>
                </a:lnTo>
                <a:lnTo>
                  <a:pt x="13167" y="5674"/>
                </a:lnTo>
                <a:lnTo>
                  <a:pt x="13136" y="5777"/>
                </a:lnTo>
                <a:lnTo>
                  <a:pt x="13173" y="5893"/>
                </a:lnTo>
                <a:lnTo>
                  <a:pt x="13150" y="5935"/>
                </a:lnTo>
                <a:lnTo>
                  <a:pt x="13224" y="6043"/>
                </a:lnTo>
                <a:lnTo>
                  <a:pt x="13326" y="6068"/>
                </a:lnTo>
                <a:lnTo>
                  <a:pt x="13287" y="6163"/>
                </a:lnTo>
                <a:lnTo>
                  <a:pt x="13212" y="6243"/>
                </a:lnTo>
                <a:lnTo>
                  <a:pt x="13188" y="6327"/>
                </a:lnTo>
                <a:lnTo>
                  <a:pt x="13346" y="6452"/>
                </a:lnTo>
                <a:lnTo>
                  <a:pt x="13495" y="6516"/>
                </a:lnTo>
                <a:lnTo>
                  <a:pt x="13351" y="6519"/>
                </a:lnTo>
                <a:lnTo>
                  <a:pt x="13284" y="6602"/>
                </a:lnTo>
                <a:lnTo>
                  <a:pt x="13275" y="6713"/>
                </a:lnTo>
                <a:lnTo>
                  <a:pt x="13389" y="6789"/>
                </a:lnTo>
                <a:lnTo>
                  <a:pt x="13322" y="6806"/>
                </a:lnTo>
                <a:lnTo>
                  <a:pt x="13210" y="6666"/>
                </a:lnTo>
                <a:lnTo>
                  <a:pt x="13116" y="6612"/>
                </a:lnTo>
                <a:lnTo>
                  <a:pt x="13101" y="6630"/>
                </a:lnTo>
                <a:lnTo>
                  <a:pt x="13203" y="6716"/>
                </a:lnTo>
                <a:lnTo>
                  <a:pt x="13220" y="6870"/>
                </a:lnTo>
                <a:lnTo>
                  <a:pt x="13379" y="6932"/>
                </a:lnTo>
                <a:lnTo>
                  <a:pt x="13473" y="7098"/>
                </a:lnTo>
                <a:lnTo>
                  <a:pt x="13555" y="7166"/>
                </a:lnTo>
                <a:lnTo>
                  <a:pt x="13615" y="7132"/>
                </a:lnTo>
                <a:lnTo>
                  <a:pt x="13679" y="7242"/>
                </a:lnTo>
                <a:lnTo>
                  <a:pt x="13779" y="7294"/>
                </a:lnTo>
                <a:lnTo>
                  <a:pt x="13798" y="7396"/>
                </a:lnTo>
                <a:lnTo>
                  <a:pt x="13848" y="7477"/>
                </a:lnTo>
                <a:lnTo>
                  <a:pt x="13823" y="7563"/>
                </a:lnTo>
                <a:lnTo>
                  <a:pt x="13846" y="7630"/>
                </a:lnTo>
                <a:lnTo>
                  <a:pt x="13768" y="7659"/>
                </a:lnTo>
                <a:lnTo>
                  <a:pt x="13694" y="7375"/>
                </a:lnTo>
                <a:lnTo>
                  <a:pt x="13632" y="7263"/>
                </a:lnTo>
                <a:lnTo>
                  <a:pt x="13503" y="7223"/>
                </a:lnTo>
                <a:lnTo>
                  <a:pt x="13341" y="7024"/>
                </a:lnTo>
                <a:lnTo>
                  <a:pt x="13239" y="6940"/>
                </a:lnTo>
                <a:lnTo>
                  <a:pt x="13172" y="6918"/>
                </a:lnTo>
                <a:lnTo>
                  <a:pt x="13108" y="6775"/>
                </a:lnTo>
                <a:lnTo>
                  <a:pt x="13029" y="6708"/>
                </a:lnTo>
                <a:lnTo>
                  <a:pt x="12892" y="6755"/>
                </a:lnTo>
                <a:lnTo>
                  <a:pt x="12885" y="6806"/>
                </a:lnTo>
                <a:lnTo>
                  <a:pt x="12966" y="6955"/>
                </a:lnTo>
                <a:lnTo>
                  <a:pt x="12987" y="7146"/>
                </a:lnTo>
                <a:lnTo>
                  <a:pt x="13024" y="7191"/>
                </a:lnTo>
                <a:lnTo>
                  <a:pt x="13138" y="7289"/>
                </a:lnTo>
                <a:lnTo>
                  <a:pt x="13177" y="7369"/>
                </a:lnTo>
                <a:lnTo>
                  <a:pt x="13247" y="7343"/>
                </a:lnTo>
                <a:lnTo>
                  <a:pt x="13274" y="7373"/>
                </a:lnTo>
                <a:lnTo>
                  <a:pt x="13386" y="7412"/>
                </a:lnTo>
                <a:lnTo>
                  <a:pt x="13413" y="7514"/>
                </a:lnTo>
                <a:lnTo>
                  <a:pt x="13095" y="7472"/>
                </a:lnTo>
                <a:lnTo>
                  <a:pt x="12989" y="7470"/>
                </a:lnTo>
                <a:lnTo>
                  <a:pt x="12802" y="7514"/>
                </a:lnTo>
                <a:lnTo>
                  <a:pt x="12805" y="7582"/>
                </a:lnTo>
                <a:lnTo>
                  <a:pt x="12919" y="7642"/>
                </a:lnTo>
                <a:lnTo>
                  <a:pt x="12919" y="7782"/>
                </a:lnTo>
                <a:lnTo>
                  <a:pt x="12797" y="7720"/>
                </a:lnTo>
                <a:lnTo>
                  <a:pt x="12746" y="7831"/>
                </a:lnTo>
                <a:lnTo>
                  <a:pt x="12638" y="7886"/>
                </a:lnTo>
                <a:lnTo>
                  <a:pt x="12621" y="7964"/>
                </a:lnTo>
                <a:lnTo>
                  <a:pt x="12536" y="7977"/>
                </a:lnTo>
                <a:lnTo>
                  <a:pt x="12549" y="7851"/>
                </a:lnTo>
                <a:lnTo>
                  <a:pt x="12499" y="7863"/>
                </a:lnTo>
                <a:lnTo>
                  <a:pt x="12345" y="8092"/>
                </a:lnTo>
                <a:lnTo>
                  <a:pt x="12238" y="8220"/>
                </a:lnTo>
                <a:lnTo>
                  <a:pt x="12261" y="8336"/>
                </a:lnTo>
                <a:lnTo>
                  <a:pt x="12167" y="8406"/>
                </a:lnTo>
                <a:lnTo>
                  <a:pt x="12094" y="8361"/>
                </a:lnTo>
                <a:lnTo>
                  <a:pt x="12062" y="8263"/>
                </a:lnTo>
                <a:lnTo>
                  <a:pt x="12140" y="8218"/>
                </a:lnTo>
                <a:lnTo>
                  <a:pt x="12070" y="8130"/>
                </a:lnTo>
                <a:lnTo>
                  <a:pt x="11869" y="8122"/>
                </a:lnTo>
                <a:lnTo>
                  <a:pt x="11950" y="8220"/>
                </a:lnTo>
                <a:lnTo>
                  <a:pt x="11946" y="8334"/>
                </a:lnTo>
                <a:lnTo>
                  <a:pt x="12035" y="8427"/>
                </a:lnTo>
                <a:lnTo>
                  <a:pt x="12028" y="8560"/>
                </a:lnTo>
                <a:lnTo>
                  <a:pt x="11943" y="8512"/>
                </a:lnTo>
                <a:lnTo>
                  <a:pt x="11874" y="8517"/>
                </a:lnTo>
                <a:lnTo>
                  <a:pt x="11742" y="8730"/>
                </a:lnTo>
                <a:lnTo>
                  <a:pt x="11822" y="8852"/>
                </a:lnTo>
                <a:lnTo>
                  <a:pt x="11765" y="8910"/>
                </a:lnTo>
                <a:lnTo>
                  <a:pt x="11556" y="8827"/>
                </a:lnTo>
                <a:lnTo>
                  <a:pt x="11514" y="8901"/>
                </a:lnTo>
                <a:lnTo>
                  <a:pt x="11576" y="8975"/>
                </a:lnTo>
                <a:lnTo>
                  <a:pt x="11581" y="9066"/>
                </a:lnTo>
                <a:lnTo>
                  <a:pt x="11511" y="9027"/>
                </a:lnTo>
                <a:lnTo>
                  <a:pt x="11399" y="8984"/>
                </a:lnTo>
                <a:lnTo>
                  <a:pt x="11355" y="8713"/>
                </a:lnTo>
                <a:lnTo>
                  <a:pt x="11218" y="8590"/>
                </a:lnTo>
                <a:lnTo>
                  <a:pt x="11268" y="8561"/>
                </a:lnTo>
                <a:lnTo>
                  <a:pt x="11620" y="8657"/>
                </a:lnTo>
                <a:lnTo>
                  <a:pt x="11732" y="8586"/>
                </a:lnTo>
                <a:lnTo>
                  <a:pt x="11791" y="8475"/>
                </a:lnTo>
                <a:lnTo>
                  <a:pt x="11759" y="8358"/>
                </a:lnTo>
                <a:lnTo>
                  <a:pt x="11685" y="8283"/>
                </a:lnTo>
                <a:lnTo>
                  <a:pt x="11392" y="8122"/>
                </a:lnTo>
                <a:lnTo>
                  <a:pt x="11206" y="8100"/>
                </a:lnTo>
                <a:lnTo>
                  <a:pt x="11089" y="7999"/>
                </a:lnTo>
                <a:lnTo>
                  <a:pt x="11027" y="8066"/>
                </a:lnTo>
                <a:lnTo>
                  <a:pt x="10950" y="7957"/>
                </a:lnTo>
                <a:lnTo>
                  <a:pt x="11027" y="7903"/>
                </a:lnTo>
                <a:lnTo>
                  <a:pt x="10830" y="7778"/>
                </a:lnTo>
                <a:lnTo>
                  <a:pt x="10721" y="7816"/>
                </a:lnTo>
                <a:lnTo>
                  <a:pt x="10609" y="7805"/>
                </a:lnTo>
                <a:lnTo>
                  <a:pt x="10507" y="7950"/>
                </a:lnTo>
                <a:lnTo>
                  <a:pt x="10403" y="7933"/>
                </a:lnTo>
                <a:lnTo>
                  <a:pt x="10256" y="7999"/>
                </a:lnTo>
                <a:lnTo>
                  <a:pt x="10040" y="8201"/>
                </a:lnTo>
                <a:lnTo>
                  <a:pt x="9899" y="8319"/>
                </a:lnTo>
                <a:lnTo>
                  <a:pt x="9651" y="8632"/>
                </a:lnTo>
                <a:lnTo>
                  <a:pt x="9449" y="8851"/>
                </a:lnTo>
                <a:lnTo>
                  <a:pt x="9241" y="8996"/>
                </a:lnTo>
                <a:lnTo>
                  <a:pt x="8983" y="9083"/>
                </a:lnTo>
                <a:lnTo>
                  <a:pt x="8870" y="9172"/>
                </a:lnTo>
                <a:lnTo>
                  <a:pt x="8756" y="9591"/>
                </a:lnTo>
                <a:lnTo>
                  <a:pt x="8726" y="9793"/>
                </a:lnTo>
                <a:lnTo>
                  <a:pt x="8824" y="9923"/>
                </a:lnTo>
                <a:lnTo>
                  <a:pt x="8960" y="9916"/>
                </a:lnTo>
                <a:lnTo>
                  <a:pt x="9198" y="9755"/>
                </a:lnTo>
                <a:lnTo>
                  <a:pt x="9233" y="9881"/>
                </a:lnTo>
                <a:lnTo>
                  <a:pt x="9244" y="10157"/>
                </a:lnTo>
                <a:lnTo>
                  <a:pt x="9281" y="10383"/>
                </a:lnTo>
                <a:lnTo>
                  <a:pt x="9278" y="10564"/>
                </a:lnTo>
                <a:lnTo>
                  <a:pt x="9400" y="10579"/>
                </a:lnTo>
                <a:lnTo>
                  <a:pt x="9484" y="10443"/>
                </a:lnTo>
                <a:lnTo>
                  <a:pt x="9606" y="10482"/>
                </a:lnTo>
                <a:lnTo>
                  <a:pt x="9690" y="10317"/>
                </a:lnTo>
                <a:lnTo>
                  <a:pt x="9775" y="10012"/>
                </a:lnTo>
                <a:lnTo>
                  <a:pt x="9881" y="9982"/>
                </a:lnTo>
                <a:lnTo>
                  <a:pt x="9994" y="9783"/>
                </a:lnTo>
                <a:lnTo>
                  <a:pt x="9921" y="9669"/>
                </a:lnTo>
                <a:lnTo>
                  <a:pt x="9876" y="9531"/>
                </a:lnTo>
                <a:lnTo>
                  <a:pt x="9978" y="9278"/>
                </a:lnTo>
                <a:lnTo>
                  <a:pt x="10160" y="9139"/>
                </a:lnTo>
                <a:lnTo>
                  <a:pt x="10304" y="9002"/>
                </a:lnTo>
                <a:lnTo>
                  <a:pt x="10302" y="8888"/>
                </a:lnTo>
                <a:lnTo>
                  <a:pt x="10388" y="8765"/>
                </a:lnTo>
                <a:lnTo>
                  <a:pt x="10523" y="8721"/>
                </a:lnTo>
                <a:lnTo>
                  <a:pt x="10627" y="8812"/>
                </a:lnTo>
                <a:lnTo>
                  <a:pt x="10632" y="8889"/>
                </a:lnTo>
                <a:lnTo>
                  <a:pt x="10579" y="8926"/>
                </a:lnTo>
                <a:lnTo>
                  <a:pt x="10383" y="9118"/>
                </a:lnTo>
                <a:lnTo>
                  <a:pt x="10297" y="9229"/>
                </a:lnTo>
                <a:lnTo>
                  <a:pt x="10247" y="9336"/>
                </a:lnTo>
                <a:lnTo>
                  <a:pt x="10276" y="9506"/>
                </a:lnTo>
                <a:lnTo>
                  <a:pt x="10240" y="9687"/>
                </a:lnTo>
                <a:lnTo>
                  <a:pt x="10324" y="9756"/>
                </a:lnTo>
                <a:lnTo>
                  <a:pt x="10371" y="9861"/>
                </a:lnTo>
                <a:lnTo>
                  <a:pt x="10525" y="9829"/>
                </a:lnTo>
                <a:lnTo>
                  <a:pt x="10691" y="9765"/>
                </a:lnTo>
                <a:lnTo>
                  <a:pt x="10858" y="9748"/>
                </a:lnTo>
                <a:lnTo>
                  <a:pt x="10957" y="9835"/>
                </a:lnTo>
                <a:lnTo>
                  <a:pt x="10851" y="9942"/>
                </a:lnTo>
                <a:lnTo>
                  <a:pt x="10754" y="9948"/>
                </a:lnTo>
                <a:lnTo>
                  <a:pt x="10651" y="9916"/>
                </a:lnTo>
                <a:lnTo>
                  <a:pt x="10532" y="9940"/>
                </a:lnTo>
                <a:lnTo>
                  <a:pt x="10408" y="9987"/>
                </a:lnTo>
                <a:lnTo>
                  <a:pt x="10411" y="10095"/>
                </a:lnTo>
                <a:lnTo>
                  <a:pt x="10470" y="10164"/>
                </a:lnTo>
                <a:lnTo>
                  <a:pt x="10507" y="10142"/>
                </a:lnTo>
                <a:lnTo>
                  <a:pt x="10492" y="10251"/>
                </a:lnTo>
                <a:lnTo>
                  <a:pt x="10465" y="10396"/>
                </a:lnTo>
                <a:lnTo>
                  <a:pt x="10384" y="10394"/>
                </a:lnTo>
                <a:lnTo>
                  <a:pt x="10312" y="10250"/>
                </a:lnTo>
                <a:lnTo>
                  <a:pt x="10214" y="10307"/>
                </a:lnTo>
                <a:lnTo>
                  <a:pt x="10153" y="10421"/>
                </a:lnTo>
                <a:lnTo>
                  <a:pt x="10138" y="10561"/>
                </a:lnTo>
                <a:lnTo>
                  <a:pt x="10147" y="10721"/>
                </a:lnTo>
                <a:lnTo>
                  <a:pt x="9994" y="10768"/>
                </a:lnTo>
                <a:lnTo>
                  <a:pt x="9963" y="10847"/>
                </a:lnTo>
                <a:lnTo>
                  <a:pt x="9859" y="10834"/>
                </a:lnTo>
                <a:lnTo>
                  <a:pt x="9855" y="10787"/>
                </a:lnTo>
                <a:lnTo>
                  <a:pt x="9753" y="10741"/>
                </a:lnTo>
                <a:lnTo>
                  <a:pt x="9609" y="10785"/>
                </a:lnTo>
                <a:lnTo>
                  <a:pt x="9429" y="10842"/>
                </a:lnTo>
                <a:lnTo>
                  <a:pt x="9345" y="10884"/>
                </a:lnTo>
                <a:lnTo>
                  <a:pt x="9306" y="10815"/>
                </a:lnTo>
                <a:lnTo>
                  <a:pt x="9201" y="10718"/>
                </a:lnTo>
                <a:lnTo>
                  <a:pt x="9131" y="10755"/>
                </a:lnTo>
                <a:lnTo>
                  <a:pt x="9015" y="10765"/>
                </a:lnTo>
                <a:lnTo>
                  <a:pt x="9032" y="10701"/>
                </a:lnTo>
                <a:lnTo>
                  <a:pt x="8936" y="10632"/>
                </a:lnTo>
                <a:lnTo>
                  <a:pt x="8952" y="10561"/>
                </a:lnTo>
                <a:lnTo>
                  <a:pt x="8947" y="10465"/>
                </a:lnTo>
                <a:lnTo>
                  <a:pt x="9050" y="10352"/>
                </a:lnTo>
                <a:lnTo>
                  <a:pt x="9075" y="10379"/>
                </a:lnTo>
                <a:lnTo>
                  <a:pt x="9117" y="10317"/>
                </a:lnTo>
                <a:lnTo>
                  <a:pt x="9070" y="10276"/>
                </a:lnTo>
                <a:lnTo>
                  <a:pt x="9070" y="10223"/>
                </a:lnTo>
                <a:lnTo>
                  <a:pt x="9114" y="10170"/>
                </a:lnTo>
                <a:lnTo>
                  <a:pt x="9141" y="10076"/>
                </a:lnTo>
                <a:lnTo>
                  <a:pt x="9050" y="10108"/>
                </a:lnTo>
                <a:lnTo>
                  <a:pt x="9003" y="10150"/>
                </a:lnTo>
                <a:lnTo>
                  <a:pt x="8915" y="10138"/>
                </a:lnTo>
                <a:lnTo>
                  <a:pt x="8873" y="10186"/>
                </a:lnTo>
                <a:lnTo>
                  <a:pt x="8843" y="10229"/>
                </a:lnTo>
                <a:lnTo>
                  <a:pt x="8794" y="10416"/>
                </a:lnTo>
                <a:lnTo>
                  <a:pt x="8808" y="10527"/>
                </a:lnTo>
                <a:lnTo>
                  <a:pt x="8786" y="10632"/>
                </a:lnTo>
                <a:lnTo>
                  <a:pt x="8791" y="10706"/>
                </a:lnTo>
                <a:lnTo>
                  <a:pt x="8697" y="10776"/>
                </a:lnTo>
                <a:lnTo>
                  <a:pt x="8687" y="10731"/>
                </a:lnTo>
                <a:lnTo>
                  <a:pt x="8598" y="10714"/>
                </a:lnTo>
                <a:lnTo>
                  <a:pt x="8567" y="10746"/>
                </a:lnTo>
                <a:lnTo>
                  <a:pt x="8481" y="10714"/>
                </a:lnTo>
                <a:lnTo>
                  <a:pt x="8315" y="10743"/>
                </a:lnTo>
                <a:lnTo>
                  <a:pt x="8140" y="10973"/>
                </a:lnTo>
                <a:lnTo>
                  <a:pt x="8069" y="11002"/>
                </a:lnTo>
                <a:lnTo>
                  <a:pt x="7971" y="11005"/>
                </a:lnTo>
                <a:lnTo>
                  <a:pt x="7865" y="11005"/>
                </a:lnTo>
                <a:lnTo>
                  <a:pt x="7783" y="11137"/>
                </a:lnTo>
                <a:lnTo>
                  <a:pt x="7482" y="11169"/>
                </a:lnTo>
                <a:lnTo>
                  <a:pt x="7410" y="11049"/>
                </a:lnTo>
                <a:lnTo>
                  <a:pt x="7366" y="11260"/>
                </a:lnTo>
                <a:lnTo>
                  <a:pt x="7204" y="11132"/>
                </a:lnTo>
                <a:lnTo>
                  <a:pt x="7052" y="11101"/>
                </a:lnTo>
                <a:lnTo>
                  <a:pt x="7008" y="11229"/>
                </a:lnTo>
                <a:lnTo>
                  <a:pt x="7147" y="11376"/>
                </a:lnTo>
                <a:lnTo>
                  <a:pt x="7194" y="11500"/>
                </a:lnTo>
                <a:lnTo>
                  <a:pt x="7242" y="11733"/>
                </a:lnTo>
                <a:lnTo>
                  <a:pt x="7095" y="12066"/>
                </a:lnTo>
                <a:lnTo>
                  <a:pt x="6996" y="12140"/>
                </a:lnTo>
                <a:lnTo>
                  <a:pt x="6809" y="12046"/>
                </a:lnTo>
                <a:lnTo>
                  <a:pt x="6708" y="12007"/>
                </a:lnTo>
                <a:lnTo>
                  <a:pt x="6598" y="11914"/>
                </a:lnTo>
                <a:lnTo>
                  <a:pt x="6444" y="11834"/>
                </a:lnTo>
                <a:lnTo>
                  <a:pt x="6320" y="11727"/>
                </a:lnTo>
                <a:lnTo>
                  <a:pt x="6111" y="11753"/>
                </a:lnTo>
                <a:lnTo>
                  <a:pt x="6124" y="11850"/>
                </a:lnTo>
                <a:lnTo>
                  <a:pt x="6066" y="11963"/>
                </a:lnTo>
                <a:lnTo>
                  <a:pt x="6046" y="12022"/>
                </a:lnTo>
                <a:lnTo>
                  <a:pt x="6042" y="12094"/>
                </a:lnTo>
                <a:lnTo>
                  <a:pt x="6015" y="12163"/>
                </a:lnTo>
                <a:lnTo>
                  <a:pt x="5948" y="12248"/>
                </a:lnTo>
                <a:lnTo>
                  <a:pt x="5912" y="12308"/>
                </a:lnTo>
                <a:lnTo>
                  <a:pt x="5840" y="12339"/>
                </a:lnTo>
                <a:lnTo>
                  <a:pt x="5784" y="12438"/>
                </a:lnTo>
                <a:lnTo>
                  <a:pt x="5786" y="12517"/>
                </a:lnTo>
                <a:lnTo>
                  <a:pt x="5833" y="12562"/>
                </a:lnTo>
                <a:lnTo>
                  <a:pt x="5804" y="12668"/>
                </a:lnTo>
                <a:lnTo>
                  <a:pt x="5734" y="12785"/>
                </a:lnTo>
                <a:lnTo>
                  <a:pt x="5803" y="12803"/>
                </a:lnTo>
                <a:lnTo>
                  <a:pt x="5860" y="12864"/>
                </a:lnTo>
                <a:lnTo>
                  <a:pt x="5925" y="12849"/>
                </a:lnTo>
                <a:lnTo>
                  <a:pt x="6030" y="12939"/>
                </a:lnTo>
                <a:lnTo>
                  <a:pt x="6030" y="13052"/>
                </a:lnTo>
                <a:lnTo>
                  <a:pt x="6057" y="13131"/>
                </a:lnTo>
                <a:lnTo>
                  <a:pt x="6116" y="13178"/>
                </a:lnTo>
                <a:lnTo>
                  <a:pt x="6186" y="13141"/>
                </a:lnTo>
                <a:lnTo>
                  <a:pt x="6287" y="13125"/>
                </a:lnTo>
                <a:lnTo>
                  <a:pt x="6409" y="13189"/>
                </a:lnTo>
                <a:lnTo>
                  <a:pt x="6574" y="13263"/>
                </a:lnTo>
                <a:lnTo>
                  <a:pt x="6708" y="13177"/>
                </a:lnTo>
                <a:lnTo>
                  <a:pt x="6817" y="13187"/>
                </a:lnTo>
                <a:lnTo>
                  <a:pt x="6881" y="13089"/>
                </a:lnTo>
                <a:lnTo>
                  <a:pt x="6980" y="13046"/>
                </a:lnTo>
                <a:lnTo>
                  <a:pt x="6959" y="12928"/>
                </a:lnTo>
                <a:lnTo>
                  <a:pt x="7053" y="12810"/>
                </a:lnTo>
                <a:lnTo>
                  <a:pt x="7160" y="12748"/>
                </a:lnTo>
                <a:lnTo>
                  <a:pt x="7191" y="12695"/>
                </a:lnTo>
                <a:lnTo>
                  <a:pt x="7365" y="12722"/>
                </a:lnTo>
                <a:lnTo>
                  <a:pt x="7519" y="12653"/>
                </a:lnTo>
                <a:lnTo>
                  <a:pt x="7542" y="12549"/>
                </a:lnTo>
                <a:lnTo>
                  <a:pt x="7587" y="12450"/>
                </a:lnTo>
                <a:lnTo>
                  <a:pt x="7786" y="12458"/>
                </a:lnTo>
                <a:lnTo>
                  <a:pt x="8024" y="12586"/>
                </a:lnTo>
                <a:lnTo>
                  <a:pt x="8163" y="12520"/>
                </a:lnTo>
                <a:lnTo>
                  <a:pt x="8220" y="12522"/>
                </a:lnTo>
                <a:lnTo>
                  <a:pt x="8314" y="12461"/>
                </a:lnTo>
                <a:lnTo>
                  <a:pt x="8377" y="12453"/>
                </a:lnTo>
                <a:lnTo>
                  <a:pt x="8468" y="12539"/>
                </a:lnTo>
                <a:lnTo>
                  <a:pt x="8528" y="12576"/>
                </a:lnTo>
                <a:lnTo>
                  <a:pt x="8531" y="12763"/>
                </a:lnTo>
                <a:lnTo>
                  <a:pt x="8602" y="12887"/>
                </a:lnTo>
                <a:lnTo>
                  <a:pt x="8702" y="13032"/>
                </a:lnTo>
                <a:lnTo>
                  <a:pt x="8794" y="13135"/>
                </a:lnTo>
                <a:lnTo>
                  <a:pt x="8893" y="13167"/>
                </a:lnTo>
                <a:lnTo>
                  <a:pt x="8941" y="13251"/>
                </a:lnTo>
                <a:lnTo>
                  <a:pt x="9027" y="13300"/>
                </a:lnTo>
                <a:lnTo>
                  <a:pt x="9057" y="13384"/>
                </a:lnTo>
                <a:lnTo>
                  <a:pt x="9112" y="13416"/>
                </a:lnTo>
                <a:lnTo>
                  <a:pt x="9142" y="13513"/>
                </a:lnTo>
                <a:lnTo>
                  <a:pt x="9184" y="13626"/>
                </a:lnTo>
                <a:lnTo>
                  <a:pt x="9149" y="13660"/>
                </a:lnTo>
                <a:lnTo>
                  <a:pt x="9107" y="13749"/>
                </a:lnTo>
                <a:lnTo>
                  <a:pt x="9101" y="13805"/>
                </a:lnTo>
                <a:lnTo>
                  <a:pt x="9162" y="13800"/>
                </a:lnTo>
                <a:lnTo>
                  <a:pt x="9258" y="13660"/>
                </a:lnTo>
                <a:lnTo>
                  <a:pt x="9318" y="13658"/>
                </a:lnTo>
                <a:lnTo>
                  <a:pt x="9347" y="13567"/>
                </a:lnTo>
                <a:lnTo>
                  <a:pt x="9251" y="13485"/>
                </a:lnTo>
                <a:lnTo>
                  <a:pt x="9325" y="13379"/>
                </a:lnTo>
                <a:lnTo>
                  <a:pt x="9444" y="13424"/>
                </a:lnTo>
                <a:lnTo>
                  <a:pt x="9512" y="13519"/>
                </a:lnTo>
                <a:lnTo>
                  <a:pt x="9546" y="13458"/>
                </a:lnTo>
                <a:lnTo>
                  <a:pt x="9534" y="13423"/>
                </a:lnTo>
                <a:lnTo>
                  <a:pt x="9424" y="13313"/>
                </a:lnTo>
                <a:lnTo>
                  <a:pt x="9328" y="13244"/>
                </a:lnTo>
                <a:lnTo>
                  <a:pt x="9213" y="13160"/>
                </a:lnTo>
                <a:lnTo>
                  <a:pt x="9256" y="13130"/>
                </a:lnTo>
                <a:lnTo>
                  <a:pt x="9228" y="13084"/>
                </a:lnTo>
                <a:lnTo>
                  <a:pt x="9121" y="13067"/>
                </a:lnTo>
                <a:lnTo>
                  <a:pt x="8993" y="12896"/>
                </a:lnTo>
                <a:lnTo>
                  <a:pt x="8950" y="12732"/>
                </a:lnTo>
                <a:lnTo>
                  <a:pt x="8843" y="12616"/>
                </a:lnTo>
                <a:lnTo>
                  <a:pt x="8818" y="12515"/>
                </a:lnTo>
                <a:lnTo>
                  <a:pt x="8843" y="12466"/>
                </a:lnTo>
                <a:lnTo>
                  <a:pt x="8853" y="12376"/>
                </a:lnTo>
                <a:lnTo>
                  <a:pt x="8967" y="12333"/>
                </a:lnTo>
                <a:lnTo>
                  <a:pt x="9064" y="12379"/>
                </a:lnTo>
                <a:lnTo>
                  <a:pt x="9032" y="12391"/>
                </a:lnTo>
                <a:lnTo>
                  <a:pt x="9027" y="12392"/>
                </a:lnTo>
                <a:lnTo>
                  <a:pt x="9013" y="12455"/>
                </a:lnTo>
                <a:lnTo>
                  <a:pt x="9042" y="12524"/>
                </a:lnTo>
                <a:lnTo>
                  <a:pt x="9094" y="12451"/>
                </a:lnTo>
                <a:lnTo>
                  <a:pt x="9172" y="12495"/>
                </a:lnTo>
                <a:lnTo>
                  <a:pt x="9166" y="12557"/>
                </a:lnTo>
                <a:lnTo>
                  <a:pt x="9214" y="12645"/>
                </a:lnTo>
                <a:lnTo>
                  <a:pt x="9186" y="12653"/>
                </a:lnTo>
                <a:lnTo>
                  <a:pt x="9278" y="12806"/>
                </a:lnTo>
                <a:lnTo>
                  <a:pt x="9393" y="12879"/>
                </a:lnTo>
                <a:lnTo>
                  <a:pt x="9464" y="12955"/>
                </a:lnTo>
                <a:lnTo>
                  <a:pt x="9584" y="13039"/>
                </a:lnTo>
                <a:lnTo>
                  <a:pt x="9640" y="13083"/>
                </a:lnTo>
                <a:lnTo>
                  <a:pt x="9671" y="13147"/>
                </a:lnTo>
                <a:lnTo>
                  <a:pt x="9700" y="13163"/>
                </a:lnTo>
                <a:lnTo>
                  <a:pt x="9720" y="13195"/>
                </a:lnTo>
                <a:lnTo>
                  <a:pt x="9696" y="13249"/>
                </a:lnTo>
                <a:lnTo>
                  <a:pt x="9673" y="13370"/>
                </a:lnTo>
                <a:lnTo>
                  <a:pt x="9678" y="13458"/>
                </a:lnTo>
                <a:lnTo>
                  <a:pt x="9752" y="13527"/>
                </a:lnTo>
                <a:lnTo>
                  <a:pt x="9752" y="13567"/>
                </a:lnTo>
                <a:lnTo>
                  <a:pt x="9775" y="13582"/>
                </a:lnTo>
                <a:lnTo>
                  <a:pt x="9780" y="13635"/>
                </a:lnTo>
                <a:lnTo>
                  <a:pt x="9847" y="13744"/>
                </a:lnTo>
                <a:lnTo>
                  <a:pt x="9897" y="13832"/>
                </a:lnTo>
                <a:lnTo>
                  <a:pt x="9916" y="13951"/>
                </a:lnTo>
                <a:lnTo>
                  <a:pt x="9963" y="14099"/>
                </a:lnTo>
                <a:lnTo>
                  <a:pt x="10081" y="14183"/>
                </a:lnTo>
                <a:lnTo>
                  <a:pt x="10180" y="14188"/>
                </a:lnTo>
                <a:lnTo>
                  <a:pt x="10132" y="14029"/>
                </a:lnTo>
                <a:lnTo>
                  <a:pt x="10225" y="14015"/>
                </a:lnTo>
                <a:lnTo>
                  <a:pt x="10185" y="13921"/>
                </a:lnTo>
                <a:lnTo>
                  <a:pt x="10321" y="13975"/>
                </a:lnTo>
                <a:lnTo>
                  <a:pt x="10323" y="13874"/>
                </a:lnTo>
                <a:lnTo>
                  <a:pt x="10251" y="13818"/>
                </a:lnTo>
                <a:lnTo>
                  <a:pt x="10174" y="13732"/>
                </a:lnTo>
                <a:lnTo>
                  <a:pt x="10230" y="13695"/>
                </a:lnTo>
                <a:lnTo>
                  <a:pt x="10162" y="13606"/>
                </a:lnTo>
                <a:lnTo>
                  <a:pt x="10135" y="13497"/>
                </a:lnTo>
                <a:lnTo>
                  <a:pt x="10163" y="13458"/>
                </a:lnTo>
                <a:lnTo>
                  <a:pt x="10235" y="13556"/>
                </a:lnTo>
                <a:lnTo>
                  <a:pt x="10314" y="13561"/>
                </a:lnTo>
                <a:lnTo>
                  <a:pt x="10388" y="13534"/>
                </a:lnTo>
                <a:lnTo>
                  <a:pt x="10292" y="13428"/>
                </a:lnTo>
                <a:lnTo>
                  <a:pt x="10466" y="13387"/>
                </a:lnTo>
                <a:lnTo>
                  <a:pt x="10538" y="13406"/>
                </a:lnTo>
                <a:lnTo>
                  <a:pt x="10626" y="13412"/>
                </a:lnTo>
                <a:lnTo>
                  <a:pt x="10622" y="13450"/>
                </a:lnTo>
                <a:lnTo>
                  <a:pt x="10667" y="13535"/>
                </a:lnTo>
                <a:lnTo>
                  <a:pt x="10786" y="13438"/>
                </a:lnTo>
                <a:lnTo>
                  <a:pt x="10846" y="13380"/>
                </a:lnTo>
                <a:lnTo>
                  <a:pt x="11014" y="13369"/>
                </a:lnTo>
                <a:lnTo>
                  <a:pt x="11037" y="13323"/>
                </a:lnTo>
                <a:lnTo>
                  <a:pt x="10915" y="13268"/>
                </a:lnTo>
                <a:lnTo>
                  <a:pt x="10897" y="13197"/>
                </a:lnTo>
                <a:lnTo>
                  <a:pt x="10851" y="13093"/>
                </a:lnTo>
                <a:lnTo>
                  <a:pt x="10900" y="12961"/>
                </a:lnTo>
                <a:lnTo>
                  <a:pt x="10969" y="12884"/>
                </a:lnTo>
                <a:lnTo>
                  <a:pt x="11002" y="12662"/>
                </a:lnTo>
                <a:lnTo>
                  <a:pt x="11042" y="12677"/>
                </a:lnTo>
                <a:lnTo>
                  <a:pt x="11106" y="12635"/>
                </a:lnTo>
                <a:lnTo>
                  <a:pt x="11101" y="12588"/>
                </a:lnTo>
                <a:lnTo>
                  <a:pt x="11196" y="12446"/>
                </a:lnTo>
                <a:lnTo>
                  <a:pt x="11240" y="12342"/>
                </a:lnTo>
                <a:lnTo>
                  <a:pt x="11357" y="12313"/>
                </a:lnTo>
                <a:lnTo>
                  <a:pt x="11370" y="12381"/>
                </a:lnTo>
                <a:lnTo>
                  <a:pt x="11575" y="12411"/>
                </a:lnTo>
                <a:lnTo>
                  <a:pt x="11615" y="12451"/>
                </a:lnTo>
                <a:lnTo>
                  <a:pt x="11496" y="12522"/>
                </a:lnTo>
                <a:lnTo>
                  <a:pt x="11474" y="12561"/>
                </a:lnTo>
                <a:lnTo>
                  <a:pt x="11622" y="12601"/>
                </a:lnTo>
                <a:lnTo>
                  <a:pt x="11600" y="12690"/>
                </a:lnTo>
                <a:lnTo>
                  <a:pt x="11677" y="12721"/>
                </a:lnTo>
                <a:lnTo>
                  <a:pt x="11846" y="12594"/>
                </a:lnTo>
                <a:lnTo>
                  <a:pt x="11985" y="12546"/>
                </a:lnTo>
                <a:lnTo>
                  <a:pt x="12003" y="12477"/>
                </a:lnTo>
                <a:lnTo>
                  <a:pt x="11873" y="12505"/>
                </a:lnTo>
                <a:lnTo>
                  <a:pt x="11804" y="12468"/>
                </a:lnTo>
                <a:lnTo>
                  <a:pt x="11786" y="12354"/>
                </a:lnTo>
                <a:lnTo>
                  <a:pt x="11888" y="12273"/>
                </a:lnTo>
                <a:lnTo>
                  <a:pt x="12005" y="12246"/>
                </a:lnTo>
                <a:lnTo>
                  <a:pt x="12080" y="12175"/>
                </a:lnTo>
                <a:lnTo>
                  <a:pt x="12179" y="12145"/>
                </a:lnTo>
                <a:lnTo>
                  <a:pt x="12286" y="12096"/>
                </a:lnTo>
                <a:lnTo>
                  <a:pt x="12296" y="12135"/>
                </a:lnTo>
                <a:lnTo>
                  <a:pt x="12122" y="12241"/>
                </a:lnTo>
                <a:lnTo>
                  <a:pt x="12202" y="12301"/>
                </a:lnTo>
                <a:lnTo>
                  <a:pt x="12117" y="12472"/>
                </a:lnTo>
                <a:lnTo>
                  <a:pt x="12027" y="12515"/>
                </a:lnTo>
                <a:lnTo>
                  <a:pt x="12154" y="12606"/>
                </a:lnTo>
                <a:lnTo>
                  <a:pt x="12311" y="12650"/>
                </a:lnTo>
                <a:lnTo>
                  <a:pt x="12504" y="12773"/>
                </a:lnTo>
                <a:lnTo>
                  <a:pt x="12561" y="12820"/>
                </a:lnTo>
                <a:lnTo>
                  <a:pt x="12638" y="12825"/>
                </a:lnTo>
                <a:lnTo>
                  <a:pt x="12726" y="12875"/>
                </a:lnTo>
                <a:lnTo>
                  <a:pt x="12782" y="12992"/>
                </a:lnTo>
                <a:lnTo>
                  <a:pt x="12775" y="13072"/>
                </a:lnTo>
                <a:lnTo>
                  <a:pt x="12629" y="13199"/>
                </a:lnTo>
                <a:lnTo>
                  <a:pt x="12509" y="13205"/>
                </a:lnTo>
                <a:lnTo>
                  <a:pt x="12351" y="13261"/>
                </a:lnTo>
                <a:lnTo>
                  <a:pt x="12144" y="13222"/>
                </a:lnTo>
                <a:lnTo>
                  <a:pt x="11889" y="13126"/>
                </a:lnTo>
                <a:lnTo>
                  <a:pt x="11662" y="13153"/>
                </a:lnTo>
                <a:lnTo>
                  <a:pt x="11504" y="13219"/>
                </a:lnTo>
                <a:lnTo>
                  <a:pt x="11342" y="13349"/>
                </a:lnTo>
                <a:lnTo>
                  <a:pt x="11074" y="13337"/>
                </a:lnTo>
                <a:lnTo>
                  <a:pt x="11017" y="13476"/>
                </a:lnTo>
                <a:lnTo>
                  <a:pt x="10798" y="13487"/>
                </a:lnTo>
                <a:lnTo>
                  <a:pt x="10639" y="13660"/>
                </a:lnTo>
                <a:lnTo>
                  <a:pt x="10731" y="13746"/>
                </a:lnTo>
                <a:lnTo>
                  <a:pt x="10659" y="13885"/>
                </a:lnTo>
                <a:lnTo>
                  <a:pt x="10766" y="13985"/>
                </a:lnTo>
                <a:lnTo>
                  <a:pt x="10855" y="14162"/>
                </a:lnTo>
                <a:lnTo>
                  <a:pt x="11019" y="14156"/>
                </a:lnTo>
                <a:lnTo>
                  <a:pt x="11166" y="14246"/>
                </a:lnTo>
                <a:lnTo>
                  <a:pt x="11270" y="14220"/>
                </a:lnTo>
                <a:lnTo>
                  <a:pt x="11302" y="14145"/>
                </a:lnTo>
                <a:lnTo>
                  <a:pt x="11462" y="14141"/>
                </a:lnTo>
                <a:lnTo>
                  <a:pt x="11590" y="14227"/>
                </a:lnTo>
                <a:lnTo>
                  <a:pt x="11816" y="14187"/>
                </a:lnTo>
                <a:lnTo>
                  <a:pt x="11909" y="14074"/>
                </a:lnTo>
                <a:lnTo>
                  <a:pt x="12038" y="14099"/>
                </a:lnTo>
                <a:lnTo>
                  <a:pt x="12127" y="14074"/>
                </a:lnTo>
                <a:lnTo>
                  <a:pt x="12077" y="14146"/>
                </a:lnTo>
                <a:lnTo>
                  <a:pt x="12140" y="14219"/>
                </a:lnTo>
                <a:lnTo>
                  <a:pt x="12110" y="14296"/>
                </a:lnTo>
                <a:lnTo>
                  <a:pt x="12137" y="14429"/>
                </a:lnTo>
                <a:lnTo>
                  <a:pt x="12135" y="14434"/>
                </a:lnTo>
                <a:lnTo>
                  <a:pt x="12070" y="14567"/>
                </a:lnTo>
                <a:lnTo>
                  <a:pt x="12027" y="14715"/>
                </a:lnTo>
                <a:lnTo>
                  <a:pt x="12023" y="14717"/>
                </a:lnTo>
                <a:lnTo>
                  <a:pt x="12005" y="14762"/>
                </a:lnTo>
                <a:lnTo>
                  <a:pt x="11983" y="14897"/>
                </a:lnTo>
                <a:lnTo>
                  <a:pt x="11948" y="14981"/>
                </a:lnTo>
                <a:lnTo>
                  <a:pt x="11960" y="14990"/>
                </a:lnTo>
                <a:lnTo>
                  <a:pt x="11916" y="15050"/>
                </a:lnTo>
                <a:lnTo>
                  <a:pt x="11842" y="15102"/>
                </a:lnTo>
                <a:lnTo>
                  <a:pt x="11717" y="15104"/>
                </a:lnTo>
                <a:lnTo>
                  <a:pt x="11586" y="15074"/>
                </a:lnTo>
                <a:lnTo>
                  <a:pt x="11553" y="15131"/>
                </a:lnTo>
                <a:lnTo>
                  <a:pt x="11506" y="15050"/>
                </a:lnTo>
                <a:lnTo>
                  <a:pt x="11392" y="15035"/>
                </a:lnTo>
                <a:lnTo>
                  <a:pt x="11252" y="15057"/>
                </a:lnTo>
                <a:lnTo>
                  <a:pt x="11188" y="15109"/>
                </a:lnTo>
                <a:lnTo>
                  <a:pt x="11094" y="15153"/>
                </a:lnTo>
                <a:lnTo>
                  <a:pt x="11118" y="15111"/>
                </a:lnTo>
                <a:lnTo>
                  <a:pt x="11121" y="15101"/>
                </a:lnTo>
                <a:lnTo>
                  <a:pt x="11153" y="15059"/>
                </a:lnTo>
                <a:lnTo>
                  <a:pt x="11143" y="14991"/>
                </a:lnTo>
                <a:lnTo>
                  <a:pt x="11069" y="15008"/>
                </a:lnTo>
                <a:lnTo>
                  <a:pt x="11024" y="15059"/>
                </a:lnTo>
                <a:lnTo>
                  <a:pt x="10989" y="15116"/>
                </a:lnTo>
                <a:lnTo>
                  <a:pt x="10982" y="15141"/>
                </a:lnTo>
                <a:lnTo>
                  <a:pt x="10831" y="15094"/>
                </a:lnTo>
                <a:lnTo>
                  <a:pt x="10679" y="15049"/>
                </a:lnTo>
                <a:lnTo>
                  <a:pt x="10466" y="15047"/>
                </a:lnTo>
                <a:lnTo>
                  <a:pt x="10430" y="14990"/>
                </a:lnTo>
                <a:lnTo>
                  <a:pt x="10272" y="14964"/>
                </a:lnTo>
                <a:lnTo>
                  <a:pt x="10222" y="14932"/>
                </a:lnTo>
                <a:lnTo>
                  <a:pt x="10163" y="14929"/>
                </a:lnTo>
                <a:lnTo>
                  <a:pt x="10113" y="14848"/>
                </a:lnTo>
                <a:lnTo>
                  <a:pt x="9902" y="14798"/>
                </a:lnTo>
                <a:lnTo>
                  <a:pt x="9794" y="14813"/>
                </a:lnTo>
                <a:lnTo>
                  <a:pt x="9676" y="14884"/>
                </a:lnTo>
                <a:lnTo>
                  <a:pt x="9621" y="14961"/>
                </a:lnTo>
                <a:lnTo>
                  <a:pt x="9648" y="15096"/>
                </a:lnTo>
                <a:lnTo>
                  <a:pt x="9566" y="15166"/>
                </a:lnTo>
                <a:lnTo>
                  <a:pt x="9486" y="15202"/>
                </a:lnTo>
                <a:lnTo>
                  <a:pt x="9323" y="15096"/>
                </a:lnTo>
                <a:lnTo>
                  <a:pt x="9107" y="14995"/>
                </a:lnTo>
                <a:lnTo>
                  <a:pt x="8970" y="14939"/>
                </a:lnTo>
                <a:lnTo>
                  <a:pt x="8915" y="14776"/>
                </a:lnTo>
                <a:lnTo>
                  <a:pt x="8719" y="14661"/>
                </a:lnTo>
                <a:lnTo>
                  <a:pt x="8595" y="14608"/>
                </a:lnTo>
                <a:lnTo>
                  <a:pt x="8530" y="14609"/>
                </a:lnTo>
                <a:lnTo>
                  <a:pt x="8361" y="14512"/>
                </a:lnTo>
                <a:lnTo>
                  <a:pt x="8307" y="14471"/>
                </a:lnTo>
                <a:lnTo>
                  <a:pt x="8284" y="14382"/>
                </a:lnTo>
                <a:lnTo>
                  <a:pt x="8207" y="14360"/>
                </a:lnTo>
                <a:lnTo>
                  <a:pt x="8195" y="14259"/>
                </a:lnTo>
                <a:lnTo>
                  <a:pt x="8307" y="14197"/>
                </a:lnTo>
                <a:lnTo>
                  <a:pt x="8352" y="14052"/>
                </a:lnTo>
                <a:lnTo>
                  <a:pt x="8309" y="13997"/>
                </a:lnTo>
                <a:lnTo>
                  <a:pt x="8325" y="13917"/>
                </a:lnTo>
                <a:lnTo>
                  <a:pt x="8413" y="13848"/>
                </a:lnTo>
                <a:lnTo>
                  <a:pt x="8407" y="13813"/>
                </a:lnTo>
                <a:lnTo>
                  <a:pt x="8274" y="13848"/>
                </a:lnTo>
                <a:lnTo>
                  <a:pt x="8295" y="13761"/>
                </a:lnTo>
                <a:lnTo>
                  <a:pt x="8200" y="13715"/>
                </a:lnTo>
                <a:lnTo>
                  <a:pt x="8031" y="13744"/>
                </a:lnTo>
                <a:lnTo>
                  <a:pt x="7932" y="13727"/>
                </a:lnTo>
                <a:lnTo>
                  <a:pt x="7884" y="13670"/>
                </a:lnTo>
                <a:lnTo>
                  <a:pt x="7733" y="13626"/>
                </a:lnTo>
                <a:lnTo>
                  <a:pt x="7587" y="13651"/>
                </a:lnTo>
                <a:lnTo>
                  <a:pt x="7522" y="13603"/>
                </a:lnTo>
                <a:lnTo>
                  <a:pt x="7291" y="13537"/>
                </a:lnTo>
                <a:lnTo>
                  <a:pt x="7052" y="13480"/>
                </a:lnTo>
                <a:lnTo>
                  <a:pt x="6908" y="13478"/>
                </a:lnTo>
                <a:lnTo>
                  <a:pt x="6802" y="13512"/>
                </a:lnTo>
                <a:lnTo>
                  <a:pt x="6648" y="13478"/>
                </a:lnTo>
                <a:lnTo>
                  <a:pt x="6491" y="13512"/>
                </a:lnTo>
                <a:lnTo>
                  <a:pt x="6434" y="13483"/>
                </a:lnTo>
                <a:lnTo>
                  <a:pt x="6308" y="13380"/>
                </a:lnTo>
                <a:lnTo>
                  <a:pt x="6181" y="13330"/>
                </a:lnTo>
                <a:lnTo>
                  <a:pt x="6128" y="13221"/>
                </a:lnTo>
                <a:lnTo>
                  <a:pt x="6034" y="13172"/>
                </a:lnTo>
                <a:lnTo>
                  <a:pt x="5957" y="13249"/>
                </a:lnTo>
                <a:lnTo>
                  <a:pt x="5811" y="13369"/>
                </a:lnTo>
                <a:lnTo>
                  <a:pt x="5692" y="13380"/>
                </a:lnTo>
                <a:lnTo>
                  <a:pt x="5537" y="13379"/>
                </a:lnTo>
                <a:lnTo>
                  <a:pt x="5414" y="13438"/>
                </a:lnTo>
                <a:lnTo>
                  <a:pt x="5368" y="13508"/>
                </a:lnTo>
                <a:lnTo>
                  <a:pt x="5269" y="13613"/>
                </a:lnTo>
                <a:lnTo>
                  <a:pt x="5230" y="13827"/>
                </a:lnTo>
                <a:lnTo>
                  <a:pt x="5076" y="13887"/>
                </a:lnTo>
                <a:lnTo>
                  <a:pt x="4996" y="13885"/>
                </a:lnTo>
                <a:lnTo>
                  <a:pt x="4857" y="13924"/>
                </a:lnTo>
                <a:lnTo>
                  <a:pt x="4731" y="13860"/>
                </a:lnTo>
                <a:lnTo>
                  <a:pt x="4644" y="13875"/>
                </a:lnTo>
                <a:lnTo>
                  <a:pt x="4507" y="13970"/>
                </a:lnTo>
                <a:lnTo>
                  <a:pt x="4403" y="13963"/>
                </a:lnTo>
                <a:lnTo>
                  <a:pt x="4325" y="14020"/>
                </a:lnTo>
                <a:lnTo>
                  <a:pt x="4295" y="14096"/>
                </a:lnTo>
                <a:lnTo>
                  <a:pt x="4229" y="14156"/>
                </a:lnTo>
                <a:lnTo>
                  <a:pt x="4179" y="14148"/>
                </a:lnTo>
                <a:lnTo>
                  <a:pt x="4077" y="14187"/>
                </a:lnTo>
                <a:lnTo>
                  <a:pt x="3998" y="14254"/>
                </a:lnTo>
                <a:lnTo>
                  <a:pt x="3990" y="14308"/>
                </a:lnTo>
                <a:lnTo>
                  <a:pt x="3923" y="14350"/>
                </a:lnTo>
                <a:lnTo>
                  <a:pt x="3863" y="14350"/>
                </a:lnTo>
                <a:lnTo>
                  <a:pt x="3834" y="14411"/>
                </a:lnTo>
                <a:lnTo>
                  <a:pt x="3809" y="14465"/>
                </a:lnTo>
                <a:lnTo>
                  <a:pt x="3856" y="14577"/>
                </a:lnTo>
                <a:lnTo>
                  <a:pt x="3868" y="14670"/>
                </a:lnTo>
                <a:lnTo>
                  <a:pt x="3833" y="14729"/>
                </a:lnTo>
                <a:lnTo>
                  <a:pt x="3827" y="14810"/>
                </a:lnTo>
                <a:lnTo>
                  <a:pt x="3802" y="14956"/>
                </a:lnTo>
                <a:lnTo>
                  <a:pt x="3749" y="15071"/>
                </a:lnTo>
                <a:lnTo>
                  <a:pt x="3695" y="15109"/>
                </a:lnTo>
                <a:lnTo>
                  <a:pt x="3687" y="15190"/>
                </a:lnTo>
                <a:lnTo>
                  <a:pt x="3638" y="15234"/>
                </a:lnTo>
                <a:lnTo>
                  <a:pt x="3551" y="15278"/>
                </a:lnTo>
                <a:lnTo>
                  <a:pt x="3488" y="15257"/>
                </a:lnTo>
                <a:lnTo>
                  <a:pt x="3541" y="15355"/>
                </a:lnTo>
                <a:lnTo>
                  <a:pt x="3571" y="15500"/>
                </a:lnTo>
                <a:lnTo>
                  <a:pt x="3541" y="15544"/>
                </a:lnTo>
                <a:lnTo>
                  <a:pt x="3541" y="15660"/>
                </a:lnTo>
                <a:lnTo>
                  <a:pt x="3543" y="15693"/>
                </a:lnTo>
                <a:lnTo>
                  <a:pt x="3578" y="15752"/>
                </a:lnTo>
                <a:lnTo>
                  <a:pt x="3573" y="15771"/>
                </a:lnTo>
                <a:lnTo>
                  <a:pt x="3596" y="15831"/>
                </a:lnTo>
                <a:lnTo>
                  <a:pt x="3652" y="15882"/>
                </a:lnTo>
                <a:lnTo>
                  <a:pt x="3714" y="15990"/>
                </a:lnTo>
                <a:lnTo>
                  <a:pt x="3749" y="16040"/>
                </a:lnTo>
                <a:lnTo>
                  <a:pt x="3764" y="16082"/>
                </a:lnTo>
                <a:lnTo>
                  <a:pt x="3769" y="16150"/>
                </a:lnTo>
                <a:lnTo>
                  <a:pt x="3799" y="16200"/>
                </a:lnTo>
                <a:lnTo>
                  <a:pt x="3833" y="16240"/>
                </a:lnTo>
                <a:lnTo>
                  <a:pt x="3879" y="16328"/>
                </a:lnTo>
                <a:lnTo>
                  <a:pt x="3930" y="16446"/>
                </a:lnTo>
                <a:lnTo>
                  <a:pt x="3933" y="16548"/>
                </a:lnTo>
                <a:lnTo>
                  <a:pt x="3951" y="16611"/>
                </a:lnTo>
                <a:lnTo>
                  <a:pt x="4018" y="16725"/>
                </a:lnTo>
                <a:lnTo>
                  <a:pt x="4115" y="16843"/>
                </a:lnTo>
                <a:lnTo>
                  <a:pt x="4154" y="16878"/>
                </a:lnTo>
                <a:lnTo>
                  <a:pt x="4243" y="17020"/>
                </a:lnTo>
                <a:lnTo>
                  <a:pt x="4363" y="17163"/>
                </a:lnTo>
                <a:lnTo>
                  <a:pt x="4492" y="17336"/>
                </a:lnTo>
                <a:lnTo>
                  <a:pt x="4643" y="17483"/>
                </a:lnTo>
                <a:lnTo>
                  <a:pt x="4683" y="17505"/>
                </a:lnTo>
                <a:lnTo>
                  <a:pt x="4713" y="17525"/>
                </a:lnTo>
                <a:lnTo>
                  <a:pt x="4869" y="17567"/>
                </a:lnTo>
                <a:lnTo>
                  <a:pt x="4979" y="17592"/>
                </a:lnTo>
                <a:lnTo>
                  <a:pt x="5167" y="17668"/>
                </a:lnTo>
                <a:lnTo>
                  <a:pt x="5269" y="17717"/>
                </a:lnTo>
                <a:lnTo>
                  <a:pt x="5379" y="17794"/>
                </a:lnTo>
                <a:lnTo>
                  <a:pt x="5453" y="17829"/>
                </a:lnTo>
                <a:lnTo>
                  <a:pt x="5595" y="17929"/>
                </a:lnTo>
                <a:lnTo>
                  <a:pt x="5744" y="17961"/>
                </a:lnTo>
                <a:lnTo>
                  <a:pt x="5838" y="17961"/>
                </a:lnTo>
                <a:lnTo>
                  <a:pt x="6104" y="17998"/>
                </a:lnTo>
                <a:lnTo>
                  <a:pt x="6240" y="18025"/>
                </a:lnTo>
                <a:lnTo>
                  <a:pt x="6380" y="18063"/>
                </a:lnTo>
                <a:lnTo>
                  <a:pt x="6531" y="18119"/>
                </a:lnTo>
                <a:lnTo>
                  <a:pt x="6658" y="18161"/>
                </a:lnTo>
                <a:lnTo>
                  <a:pt x="6775" y="18282"/>
                </a:lnTo>
                <a:lnTo>
                  <a:pt x="6827" y="18388"/>
                </a:lnTo>
                <a:lnTo>
                  <a:pt x="6918" y="18491"/>
                </a:lnTo>
                <a:lnTo>
                  <a:pt x="7057" y="18538"/>
                </a:lnTo>
                <a:lnTo>
                  <a:pt x="7125" y="18531"/>
                </a:lnTo>
                <a:lnTo>
                  <a:pt x="7191" y="18558"/>
                </a:lnTo>
                <a:lnTo>
                  <a:pt x="7376" y="18567"/>
                </a:lnTo>
                <a:lnTo>
                  <a:pt x="7373" y="18599"/>
                </a:lnTo>
                <a:lnTo>
                  <a:pt x="7416" y="18629"/>
                </a:lnTo>
                <a:lnTo>
                  <a:pt x="7452" y="18691"/>
                </a:lnTo>
                <a:lnTo>
                  <a:pt x="7532" y="18732"/>
                </a:lnTo>
                <a:lnTo>
                  <a:pt x="7599" y="18826"/>
                </a:lnTo>
                <a:lnTo>
                  <a:pt x="7570" y="18908"/>
                </a:lnTo>
                <a:lnTo>
                  <a:pt x="7507" y="19018"/>
                </a:lnTo>
                <a:lnTo>
                  <a:pt x="7540" y="19043"/>
                </a:lnTo>
                <a:lnTo>
                  <a:pt x="7504" y="19114"/>
                </a:lnTo>
                <a:lnTo>
                  <a:pt x="7462" y="19181"/>
                </a:lnTo>
                <a:lnTo>
                  <a:pt x="7423" y="19205"/>
                </a:lnTo>
                <a:lnTo>
                  <a:pt x="7416" y="19237"/>
                </a:lnTo>
                <a:lnTo>
                  <a:pt x="7527" y="19373"/>
                </a:lnTo>
                <a:lnTo>
                  <a:pt x="7646" y="19486"/>
                </a:lnTo>
                <a:lnTo>
                  <a:pt x="7833" y="19629"/>
                </a:lnTo>
                <a:lnTo>
                  <a:pt x="7986" y="19764"/>
                </a:lnTo>
                <a:lnTo>
                  <a:pt x="8036" y="19843"/>
                </a:lnTo>
                <a:lnTo>
                  <a:pt x="8063" y="19876"/>
                </a:lnTo>
                <a:lnTo>
                  <a:pt x="8048" y="19891"/>
                </a:lnTo>
                <a:lnTo>
                  <a:pt x="8140" y="19966"/>
                </a:lnTo>
                <a:lnTo>
                  <a:pt x="8181" y="20033"/>
                </a:lnTo>
                <a:lnTo>
                  <a:pt x="8242" y="20125"/>
                </a:lnTo>
                <a:lnTo>
                  <a:pt x="8190" y="20147"/>
                </a:lnTo>
                <a:lnTo>
                  <a:pt x="8181" y="20162"/>
                </a:lnTo>
                <a:lnTo>
                  <a:pt x="8230" y="20220"/>
                </a:lnTo>
                <a:lnTo>
                  <a:pt x="8282" y="20279"/>
                </a:lnTo>
                <a:lnTo>
                  <a:pt x="8337" y="20317"/>
                </a:lnTo>
                <a:lnTo>
                  <a:pt x="8352" y="20361"/>
                </a:lnTo>
                <a:lnTo>
                  <a:pt x="8339" y="20413"/>
                </a:lnTo>
                <a:lnTo>
                  <a:pt x="8287" y="20435"/>
                </a:lnTo>
                <a:lnTo>
                  <a:pt x="8192" y="20460"/>
                </a:lnTo>
                <a:lnTo>
                  <a:pt x="8155" y="20481"/>
                </a:lnTo>
                <a:lnTo>
                  <a:pt x="8108" y="20529"/>
                </a:lnTo>
                <a:lnTo>
                  <a:pt x="8103" y="20556"/>
                </a:lnTo>
                <a:lnTo>
                  <a:pt x="8054" y="20602"/>
                </a:lnTo>
                <a:lnTo>
                  <a:pt x="8043" y="20651"/>
                </a:lnTo>
                <a:lnTo>
                  <a:pt x="8068" y="20691"/>
                </a:lnTo>
                <a:lnTo>
                  <a:pt x="8089" y="20738"/>
                </a:lnTo>
                <a:lnTo>
                  <a:pt x="8243" y="20821"/>
                </a:lnTo>
                <a:lnTo>
                  <a:pt x="8290" y="20861"/>
                </a:lnTo>
                <a:lnTo>
                  <a:pt x="8399" y="20938"/>
                </a:lnTo>
                <a:lnTo>
                  <a:pt x="8500" y="20994"/>
                </a:lnTo>
                <a:lnTo>
                  <a:pt x="8572" y="21024"/>
                </a:lnTo>
                <a:lnTo>
                  <a:pt x="8602" y="21051"/>
                </a:lnTo>
                <a:lnTo>
                  <a:pt x="8625" y="21098"/>
                </a:lnTo>
                <a:lnTo>
                  <a:pt x="8705" y="21162"/>
                </a:lnTo>
                <a:lnTo>
                  <a:pt x="8759" y="21193"/>
                </a:lnTo>
                <a:lnTo>
                  <a:pt x="8811" y="21228"/>
                </a:lnTo>
                <a:lnTo>
                  <a:pt x="8888" y="21257"/>
                </a:lnTo>
                <a:lnTo>
                  <a:pt x="9020" y="21294"/>
                </a:lnTo>
                <a:lnTo>
                  <a:pt x="9157" y="21337"/>
                </a:lnTo>
                <a:lnTo>
                  <a:pt x="9249" y="21363"/>
                </a:lnTo>
                <a:lnTo>
                  <a:pt x="9368" y="21390"/>
                </a:lnTo>
                <a:lnTo>
                  <a:pt x="9383" y="21398"/>
                </a:lnTo>
                <a:lnTo>
                  <a:pt x="9337" y="21393"/>
                </a:lnTo>
                <a:lnTo>
                  <a:pt x="9397" y="21405"/>
                </a:lnTo>
                <a:lnTo>
                  <a:pt x="9405" y="21408"/>
                </a:lnTo>
                <a:lnTo>
                  <a:pt x="9430" y="21411"/>
                </a:lnTo>
                <a:lnTo>
                  <a:pt x="9435" y="21411"/>
                </a:lnTo>
                <a:lnTo>
                  <a:pt x="9507" y="21422"/>
                </a:lnTo>
                <a:lnTo>
                  <a:pt x="9559" y="21427"/>
                </a:lnTo>
                <a:lnTo>
                  <a:pt x="9629" y="21435"/>
                </a:lnTo>
                <a:lnTo>
                  <a:pt x="9698" y="21442"/>
                </a:lnTo>
                <a:lnTo>
                  <a:pt x="9787" y="21450"/>
                </a:lnTo>
                <a:lnTo>
                  <a:pt x="9917" y="21460"/>
                </a:lnTo>
                <a:lnTo>
                  <a:pt x="10073" y="21470"/>
                </a:lnTo>
                <a:lnTo>
                  <a:pt x="10137" y="21475"/>
                </a:lnTo>
                <a:lnTo>
                  <a:pt x="10230" y="21479"/>
                </a:lnTo>
                <a:lnTo>
                  <a:pt x="10400" y="21487"/>
                </a:lnTo>
                <a:lnTo>
                  <a:pt x="10475" y="21489"/>
                </a:lnTo>
                <a:lnTo>
                  <a:pt x="10570" y="21492"/>
                </a:lnTo>
                <a:lnTo>
                  <a:pt x="10589" y="21491"/>
                </a:lnTo>
                <a:lnTo>
                  <a:pt x="10669" y="21491"/>
                </a:lnTo>
                <a:lnTo>
                  <a:pt x="10831" y="21489"/>
                </a:lnTo>
                <a:lnTo>
                  <a:pt x="10950" y="21486"/>
                </a:lnTo>
                <a:lnTo>
                  <a:pt x="11064" y="21477"/>
                </a:lnTo>
                <a:lnTo>
                  <a:pt x="11248" y="21460"/>
                </a:lnTo>
                <a:lnTo>
                  <a:pt x="11342" y="21445"/>
                </a:lnTo>
                <a:lnTo>
                  <a:pt x="11391" y="21435"/>
                </a:lnTo>
                <a:lnTo>
                  <a:pt x="11462" y="21422"/>
                </a:lnTo>
                <a:lnTo>
                  <a:pt x="11496" y="21417"/>
                </a:lnTo>
                <a:lnTo>
                  <a:pt x="11610" y="21400"/>
                </a:lnTo>
                <a:lnTo>
                  <a:pt x="11657" y="21386"/>
                </a:lnTo>
                <a:lnTo>
                  <a:pt x="11682" y="21366"/>
                </a:lnTo>
                <a:lnTo>
                  <a:pt x="11730" y="21342"/>
                </a:lnTo>
                <a:lnTo>
                  <a:pt x="11749" y="21327"/>
                </a:lnTo>
                <a:lnTo>
                  <a:pt x="11707" y="21329"/>
                </a:lnTo>
                <a:lnTo>
                  <a:pt x="11695" y="21317"/>
                </a:lnTo>
                <a:lnTo>
                  <a:pt x="11772" y="21300"/>
                </a:lnTo>
                <a:lnTo>
                  <a:pt x="11980" y="21263"/>
                </a:lnTo>
                <a:lnTo>
                  <a:pt x="12122" y="21236"/>
                </a:lnTo>
                <a:lnTo>
                  <a:pt x="12196" y="21215"/>
                </a:lnTo>
                <a:lnTo>
                  <a:pt x="12226" y="21196"/>
                </a:lnTo>
                <a:lnTo>
                  <a:pt x="12187" y="21194"/>
                </a:lnTo>
                <a:lnTo>
                  <a:pt x="12221" y="21174"/>
                </a:lnTo>
                <a:lnTo>
                  <a:pt x="12236" y="21134"/>
                </a:lnTo>
                <a:lnTo>
                  <a:pt x="12204" y="21139"/>
                </a:lnTo>
                <a:lnTo>
                  <a:pt x="12206" y="21127"/>
                </a:lnTo>
                <a:lnTo>
                  <a:pt x="12177" y="21105"/>
                </a:lnTo>
                <a:lnTo>
                  <a:pt x="12102" y="21080"/>
                </a:lnTo>
                <a:lnTo>
                  <a:pt x="12124" y="21043"/>
                </a:lnTo>
                <a:lnTo>
                  <a:pt x="12197" y="21023"/>
                </a:lnTo>
                <a:lnTo>
                  <a:pt x="12325" y="20972"/>
                </a:lnTo>
                <a:lnTo>
                  <a:pt x="12395" y="20954"/>
                </a:lnTo>
                <a:lnTo>
                  <a:pt x="12602" y="20866"/>
                </a:lnTo>
                <a:lnTo>
                  <a:pt x="12805" y="20807"/>
                </a:lnTo>
                <a:lnTo>
                  <a:pt x="12969" y="20757"/>
                </a:lnTo>
                <a:lnTo>
                  <a:pt x="13088" y="20698"/>
                </a:lnTo>
                <a:lnTo>
                  <a:pt x="13163" y="20641"/>
                </a:lnTo>
                <a:lnTo>
                  <a:pt x="13224" y="20585"/>
                </a:lnTo>
                <a:lnTo>
                  <a:pt x="13198" y="20558"/>
                </a:lnTo>
                <a:lnTo>
                  <a:pt x="13207" y="20450"/>
                </a:lnTo>
                <a:lnTo>
                  <a:pt x="13193" y="20390"/>
                </a:lnTo>
                <a:lnTo>
                  <a:pt x="13208" y="20314"/>
                </a:lnTo>
                <a:lnTo>
                  <a:pt x="13183" y="20284"/>
                </a:lnTo>
                <a:lnTo>
                  <a:pt x="13120" y="20280"/>
                </a:lnTo>
                <a:lnTo>
                  <a:pt x="13051" y="20215"/>
                </a:lnTo>
                <a:lnTo>
                  <a:pt x="12993" y="20173"/>
                </a:lnTo>
                <a:lnTo>
                  <a:pt x="13008" y="20130"/>
                </a:lnTo>
                <a:lnTo>
                  <a:pt x="12999" y="20107"/>
                </a:lnTo>
                <a:lnTo>
                  <a:pt x="13051" y="20045"/>
                </a:lnTo>
                <a:lnTo>
                  <a:pt x="13048" y="20023"/>
                </a:lnTo>
                <a:lnTo>
                  <a:pt x="12932" y="20011"/>
                </a:lnTo>
                <a:lnTo>
                  <a:pt x="12924" y="19962"/>
                </a:lnTo>
                <a:lnTo>
                  <a:pt x="13013" y="19833"/>
                </a:lnTo>
                <a:lnTo>
                  <a:pt x="13086" y="19789"/>
                </a:lnTo>
                <a:lnTo>
                  <a:pt x="13125" y="19718"/>
                </a:lnTo>
                <a:lnTo>
                  <a:pt x="13183" y="19668"/>
                </a:lnTo>
                <a:lnTo>
                  <a:pt x="13210" y="19592"/>
                </a:lnTo>
                <a:lnTo>
                  <a:pt x="13279" y="19572"/>
                </a:lnTo>
                <a:lnTo>
                  <a:pt x="13324" y="19521"/>
                </a:lnTo>
                <a:lnTo>
                  <a:pt x="13451" y="19454"/>
                </a:lnTo>
                <a:lnTo>
                  <a:pt x="13493" y="19420"/>
                </a:lnTo>
                <a:lnTo>
                  <a:pt x="13535" y="19356"/>
                </a:lnTo>
                <a:lnTo>
                  <a:pt x="13732" y="19183"/>
                </a:lnTo>
                <a:lnTo>
                  <a:pt x="13898" y="19058"/>
                </a:lnTo>
                <a:lnTo>
                  <a:pt x="14163" y="18878"/>
                </a:lnTo>
                <a:lnTo>
                  <a:pt x="14337" y="18737"/>
                </a:lnTo>
                <a:lnTo>
                  <a:pt x="14538" y="18516"/>
                </a:lnTo>
                <a:lnTo>
                  <a:pt x="14680" y="18336"/>
                </a:lnTo>
                <a:lnTo>
                  <a:pt x="14817" y="18109"/>
                </a:lnTo>
                <a:lnTo>
                  <a:pt x="14909" y="17914"/>
                </a:lnTo>
                <a:lnTo>
                  <a:pt x="14980" y="17744"/>
                </a:lnTo>
                <a:lnTo>
                  <a:pt x="15013" y="17587"/>
                </a:lnTo>
                <a:lnTo>
                  <a:pt x="15043" y="17526"/>
                </a:lnTo>
                <a:lnTo>
                  <a:pt x="15035" y="17457"/>
                </a:lnTo>
                <a:lnTo>
                  <a:pt x="15041" y="17375"/>
                </a:lnTo>
                <a:lnTo>
                  <a:pt x="15035" y="17340"/>
                </a:lnTo>
                <a:lnTo>
                  <a:pt x="14971" y="17363"/>
                </a:lnTo>
                <a:lnTo>
                  <a:pt x="14897" y="17437"/>
                </a:lnTo>
                <a:lnTo>
                  <a:pt x="14809" y="17483"/>
                </a:lnTo>
                <a:lnTo>
                  <a:pt x="14733" y="17528"/>
                </a:lnTo>
                <a:lnTo>
                  <a:pt x="14680" y="17548"/>
                </a:lnTo>
                <a:lnTo>
                  <a:pt x="14583" y="17585"/>
                </a:lnTo>
                <a:lnTo>
                  <a:pt x="14524" y="17629"/>
                </a:lnTo>
                <a:lnTo>
                  <a:pt x="14440" y="17664"/>
                </a:lnTo>
                <a:lnTo>
                  <a:pt x="14292" y="17752"/>
                </a:lnTo>
                <a:lnTo>
                  <a:pt x="14104" y="17821"/>
                </a:lnTo>
                <a:lnTo>
                  <a:pt x="13943" y="17898"/>
                </a:lnTo>
                <a:lnTo>
                  <a:pt x="13856" y="17920"/>
                </a:lnTo>
                <a:lnTo>
                  <a:pt x="13773" y="17885"/>
                </a:lnTo>
                <a:lnTo>
                  <a:pt x="13734" y="17838"/>
                </a:lnTo>
                <a:lnTo>
                  <a:pt x="13675" y="17828"/>
                </a:lnTo>
                <a:lnTo>
                  <a:pt x="13597" y="17809"/>
                </a:lnTo>
                <a:lnTo>
                  <a:pt x="13694" y="17752"/>
                </a:lnTo>
                <a:lnTo>
                  <a:pt x="13696" y="17695"/>
                </a:lnTo>
                <a:lnTo>
                  <a:pt x="13650" y="17663"/>
                </a:lnTo>
                <a:lnTo>
                  <a:pt x="13560" y="17641"/>
                </a:lnTo>
                <a:lnTo>
                  <a:pt x="13501" y="17607"/>
                </a:lnTo>
                <a:lnTo>
                  <a:pt x="13401" y="17548"/>
                </a:lnTo>
                <a:lnTo>
                  <a:pt x="13297" y="17488"/>
                </a:lnTo>
                <a:lnTo>
                  <a:pt x="13046" y="17402"/>
                </a:lnTo>
                <a:lnTo>
                  <a:pt x="12946" y="17350"/>
                </a:lnTo>
                <a:lnTo>
                  <a:pt x="12887" y="17225"/>
                </a:lnTo>
                <a:lnTo>
                  <a:pt x="12772" y="17072"/>
                </a:lnTo>
                <a:lnTo>
                  <a:pt x="12673" y="17033"/>
                </a:lnTo>
                <a:lnTo>
                  <a:pt x="12604" y="17006"/>
                </a:lnTo>
                <a:lnTo>
                  <a:pt x="12527" y="16836"/>
                </a:lnTo>
                <a:lnTo>
                  <a:pt x="12490" y="16683"/>
                </a:lnTo>
                <a:lnTo>
                  <a:pt x="12525" y="16649"/>
                </a:lnTo>
                <a:lnTo>
                  <a:pt x="12459" y="16505"/>
                </a:lnTo>
                <a:lnTo>
                  <a:pt x="12427" y="16478"/>
                </a:lnTo>
                <a:lnTo>
                  <a:pt x="12219" y="16363"/>
                </a:lnTo>
                <a:lnTo>
                  <a:pt x="12206" y="16261"/>
                </a:lnTo>
                <a:lnTo>
                  <a:pt x="12238" y="16229"/>
                </a:lnTo>
                <a:lnTo>
                  <a:pt x="12073" y="16069"/>
                </a:lnTo>
                <a:lnTo>
                  <a:pt x="12015" y="15983"/>
                </a:lnTo>
                <a:lnTo>
                  <a:pt x="11948" y="15902"/>
                </a:lnTo>
                <a:lnTo>
                  <a:pt x="11807" y="15658"/>
                </a:lnTo>
                <a:lnTo>
                  <a:pt x="11697" y="15498"/>
                </a:lnTo>
                <a:lnTo>
                  <a:pt x="11620" y="15326"/>
                </a:lnTo>
                <a:lnTo>
                  <a:pt x="11637" y="15310"/>
                </a:lnTo>
                <a:lnTo>
                  <a:pt x="11765" y="15542"/>
                </a:lnTo>
                <a:lnTo>
                  <a:pt x="11844" y="15609"/>
                </a:lnTo>
                <a:lnTo>
                  <a:pt x="11901" y="15656"/>
                </a:lnTo>
                <a:lnTo>
                  <a:pt x="11938" y="15624"/>
                </a:lnTo>
                <a:lnTo>
                  <a:pt x="11976" y="15533"/>
                </a:lnTo>
                <a:lnTo>
                  <a:pt x="12003" y="15402"/>
                </a:lnTo>
                <a:lnTo>
                  <a:pt x="12043" y="15330"/>
                </a:lnTo>
                <a:lnTo>
                  <a:pt x="12050" y="15353"/>
                </a:lnTo>
                <a:lnTo>
                  <a:pt x="12035" y="15424"/>
                </a:lnTo>
                <a:lnTo>
                  <a:pt x="12032" y="15483"/>
                </a:lnTo>
                <a:lnTo>
                  <a:pt x="12013" y="15577"/>
                </a:lnTo>
                <a:lnTo>
                  <a:pt x="12095" y="15567"/>
                </a:lnTo>
                <a:lnTo>
                  <a:pt x="12187" y="15670"/>
                </a:lnTo>
                <a:lnTo>
                  <a:pt x="12298" y="15789"/>
                </a:lnTo>
                <a:lnTo>
                  <a:pt x="12373" y="15902"/>
                </a:lnTo>
                <a:lnTo>
                  <a:pt x="12423" y="15931"/>
                </a:lnTo>
                <a:lnTo>
                  <a:pt x="12477" y="16008"/>
                </a:lnTo>
                <a:lnTo>
                  <a:pt x="12472" y="16045"/>
                </a:lnTo>
                <a:lnTo>
                  <a:pt x="12534" y="16129"/>
                </a:lnTo>
                <a:lnTo>
                  <a:pt x="12628" y="16148"/>
                </a:lnTo>
                <a:lnTo>
                  <a:pt x="12711" y="16197"/>
                </a:lnTo>
                <a:lnTo>
                  <a:pt x="12825" y="16355"/>
                </a:lnTo>
                <a:lnTo>
                  <a:pt x="12827" y="16449"/>
                </a:lnTo>
                <a:lnTo>
                  <a:pt x="12855" y="16553"/>
                </a:lnTo>
                <a:lnTo>
                  <a:pt x="12982" y="16678"/>
                </a:lnTo>
                <a:lnTo>
                  <a:pt x="13061" y="16688"/>
                </a:lnTo>
                <a:lnTo>
                  <a:pt x="13190" y="16769"/>
                </a:lnTo>
                <a:lnTo>
                  <a:pt x="13250" y="16882"/>
                </a:lnTo>
                <a:lnTo>
                  <a:pt x="13354" y="16986"/>
                </a:lnTo>
                <a:lnTo>
                  <a:pt x="13448" y="17018"/>
                </a:lnTo>
                <a:lnTo>
                  <a:pt x="13466" y="17074"/>
                </a:lnTo>
                <a:lnTo>
                  <a:pt x="13523" y="17106"/>
                </a:lnTo>
                <a:lnTo>
                  <a:pt x="13552" y="17163"/>
                </a:lnTo>
                <a:lnTo>
                  <a:pt x="13565" y="17223"/>
                </a:lnTo>
                <a:lnTo>
                  <a:pt x="13547" y="17255"/>
                </a:lnTo>
                <a:lnTo>
                  <a:pt x="13570" y="17316"/>
                </a:lnTo>
                <a:lnTo>
                  <a:pt x="13537" y="17331"/>
                </a:lnTo>
                <a:lnTo>
                  <a:pt x="13592" y="17378"/>
                </a:lnTo>
                <a:lnTo>
                  <a:pt x="13635" y="17474"/>
                </a:lnTo>
                <a:lnTo>
                  <a:pt x="13667" y="17508"/>
                </a:lnTo>
                <a:lnTo>
                  <a:pt x="13669" y="17585"/>
                </a:lnTo>
                <a:lnTo>
                  <a:pt x="13721" y="17654"/>
                </a:lnTo>
                <a:lnTo>
                  <a:pt x="13843" y="17631"/>
                </a:lnTo>
                <a:lnTo>
                  <a:pt x="13896" y="17599"/>
                </a:lnTo>
                <a:lnTo>
                  <a:pt x="13983" y="17579"/>
                </a:lnTo>
                <a:lnTo>
                  <a:pt x="14007" y="17537"/>
                </a:lnTo>
                <a:lnTo>
                  <a:pt x="14050" y="17515"/>
                </a:lnTo>
                <a:lnTo>
                  <a:pt x="14086" y="17468"/>
                </a:lnTo>
                <a:lnTo>
                  <a:pt x="14127" y="17447"/>
                </a:lnTo>
                <a:lnTo>
                  <a:pt x="14271" y="17399"/>
                </a:lnTo>
                <a:lnTo>
                  <a:pt x="14377" y="17340"/>
                </a:lnTo>
                <a:lnTo>
                  <a:pt x="14469" y="17252"/>
                </a:lnTo>
                <a:lnTo>
                  <a:pt x="14521" y="17244"/>
                </a:lnTo>
                <a:lnTo>
                  <a:pt x="14595" y="17212"/>
                </a:lnTo>
                <a:lnTo>
                  <a:pt x="14732" y="17064"/>
                </a:lnTo>
                <a:lnTo>
                  <a:pt x="14988" y="16905"/>
                </a:lnTo>
                <a:lnTo>
                  <a:pt x="15142" y="16784"/>
                </a:lnTo>
                <a:lnTo>
                  <a:pt x="15139" y="16735"/>
                </a:lnTo>
                <a:lnTo>
                  <a:pt x="15160" y="16660"/>
                </a:lnTo>
                <a:lnTo>
                  <a:pt x="15271" y="16575"/>
                </a:lnTo>
                <a:lnTo>
                  <a:pt x="15344" y="16537"/>
                </a:lnTo>
                <a:lnTo>
                  <a:pt x="15442" y="16444"/>
                </a:lnTo>
                <a:lnTo>
                  <a:pt x="15532" y="16421"/>
                </a:lnTo>
                <a:lnTo>
                  <a:pt x="15601" y="16348"/>
                </a:lnTo>
                <a:lnTo>
                  <a:pt x="15589" y="16291"/>
                </a:lnTo>
                <a:lnTo>
                  <a:pt x="15644" y="16227"/>
                </a:lnTo>
                <a:lnTo>
                  <a:pt x="15741" y="16183"/>
                </a:lnTo>
                <a:lnTo>
                  <a:pt x="15771" y="16138"/>
                </a:lnTo>
                <a:lnTo>
                  <a:pt x="15771" y="16060"/>
                </a:lnTo>
                <a:lnTo>
                  <a:pt x="15857" y="15961"/>
                </a:lnTo>
                <a:lnTo>
                  <a:pt x="15927" y="15927"/>
                </a:lnTo>
                <a:lnTo>
                  <a:pt x="15937" y="15904"/>
                </a:lnTo>
                <a:lnTo>
                  <a:pt x="15897" y="15816"/>
                </a:lnTo>
                <a:lnTo>
                  <a:pt x="15905" y="15730"/>
                </a:lnTo>
                <a:lnTo>
                  <a:pt x="15929" y="15680"/>
                </a:lnTo>
                <a:lnTo>
                  <a:pt x="15997" y="15653"/>
                </a:lnTo>
                <a:lnTo>
                  <a:pt x="16029" y="15525"/>
                </a:lnTo>
                <a:lnTo>
                  <a:pt x="16081" y="15446"/>
                </a:lnTo>
                <a:lnTo>
                  <a:pt x="16093" y="15392"/>
                </a:lnTo>
                <a:lnTo>
                  <a:pt x="16125" y="15276"/>
                </a:lnTo>
                <a:lnTo>
                  <a:pt x="16116" y="15244"/>
                </a:lnTo>
                <a:lnTo>
                  <a:pt x="16059" y="15252"/>
                </a:lnTo>
                <a:lnTo>
                  <a:pt x="16007" y="15222"/>
                </a:lnTo>
                <a:lnTo>
                  <a:pt x="15919" y="15170"/>
                </a:lnTo>
                <a:lnTo>
                  <a:pt x="15825" y="15187"/>
                </a:lnTo>
                <a:lnTo>
                  <a:pt x="15713" y="15220"/>
                </a:lnTo>
                <a:lnTo>
                  <a:pt x="15617" y="15203"/>
                </a:lnTo>
                <a:lnTo>
                  <a:pt x="15524" y="15131"/>
                </a:lnTo>
                <a:lnTo>
                  <a:pt x="15473" y="15018"/>
                </a:lnTo>
                <a:lnTo>
                  <a:pt x="15485" y="14981"/>
                </a:lnTo>
                <a:lnTo>
                  <a:pt x="15483" y="14911"/>
                </a:lnTo>
                <a:lnTo>
                  <a:pt x="15462" y="14906"/>
                </a:lnTo>
                <a:lnTo>
                  <a:pt x="15431" y="14978"/>
                </a:lnTo>
                <a:lnTo>
                  <a:pt x="15363" y="15116"/>
                </a:lnTo>
                <a:lnTo>
                  <a:pt x="15276" y="15264"/>
                </a:lnTo>
                <a:lnTo>
                  <a:pt x="15195" y="15412"/>
                </a:lnTo>
                <a:lnTo>
                  <a:pt x="15103" y="15446"/>
                </a:lnTo>
                <a:lnTo>
                  <a:pt x="14974" y="15493"/>
                </a:lnTo>
                <a:lnTo>
                  <a:pt x="14859" y="15564"/>
                </a:lnTo>
                <a:lnTo>
                  <a:pt x="14846" y="15523"/>
                </a:lnTo>
                <a:lnTo>
                  <a:pt x="14819" y="15542"/>
                </a:lnTo>
                <a:lnTo>
                  <a:pt x="14777" y="15493"/>
                </a:lnTo>
                <a:lnTo>
                  <a:pt x="14792" y="15389"/>
                </a:lnTo>
                <a:lnTo>
                  <a:pt x="14770" y="15298"/>
                </a:lnTo>
                <a:lnTo>
                  <a:pt x="14713" y="15266"/>
                </a:lnTo>
                <a:lnTo>
                  <a:pt x="14675" y="15298"/>
                </a:lnTo>
                <a:lnTo>
                  <a:pt x="14650" y="15395"/>
                </a:lnTo>
                <a:lnTo>
                  <a:pt x="14683" y="15506"/>
                </a:lnTo>
                <a:lnTo>
                  <a:pt x="14653" y="15476"/>
                </a:lnTo>
                <a:lnTo>
                  <a:pt x="14621" y="15432"/>
                </a:lnTo>
                <a:lnTo>
                  <a:pt x="14568" y="15404"/>
                </a:lnTo>
                <a:lnTo>
                  <a:pt x="14538" y="15358"/>
                </a:lnTo>
                <a:lnTo>
                  <a:pt x="14543" y="15299"/>
                </a:lnTo>
                <a:lnTo>
                  <a:pt x="14519" y="15237"/>
                </a:lnTo>
                <a:lnTo>
                  <a:pt x="14402" y="15207"/>
                </a:lnTo>
                <a:lnTo>
                  <a:pt x="14363" y="15160"/>
                </a:lnTo>
                <a:lnTo>
                  <a:pt x="14281" y="15148"/>
                </a:lnTo>
                <a:lnTo>
                  <a:pt x="14193" y="15028"/>
                </a:lnTo>
                <a:lnTo>
                  <a:pt x="14119" y="14921"/>
                </a:lnTo>
                <a:lnTo>
                  <a:pt x="14126" y="14880"/>
                </a:lnTo>
                <a:lnTo>
                  <a:pt x="14079" y="14816"/>
                </a:lnTo>
                <a:lnTo>
                  <a:pt x="14169" y="14796"/>
                </a:lnTo>
                <a:lnTo>
                  <a:pt x="14213" y="14714"/>
                </a:lnTo>
                <a:lnTo>
                  <a:pt x="14320" y="14736"/>
                </a:lnTo>
                <a:lnTo>
                  <a:pt x="14394" y="14682"/>
                </a:lnTo>
                <a:lnTo>
                  <a:pt x="14553" y="14858"/>
                </a:lnTo>
                <a:lnTo>
                  <a:pt x="14687" y="14975"/>
                </a:lnTo>
                <a:lnTo>
                  <a:pt x="14842" y="14964"/>
                </a:lnTo>
                <a:lnTo>
                  <a:pt x="15021" y="15025"/>
                </a:lnTo>
                <a:lnTo>
                  <a:pt x="15216" y="15001"/>
                </a:lnTo>
                <a:lnTo>
                  <a:pt x="15344" y="14860"/>
                </a:lnTo>
                <a:lnTo>
                  <a:pt x="15450" y="14781"/>
                </a:lnTo>
                <a:lnTo>
                  <a:pt x="15525" y="14776"/>
                </a:lnTo>
                <a:lnTo>
                  <a:pt x="15639" y="14936"/>
                </a:lnTo>
                <a:lnTo>
                  <a:pt x="15806" y="14875"/>
                </a:lnTo>
                <a:lnTo>
                  <a:pt x="15972" y="14830"/>
                </a:lnTo>
                <a:lnTo>
                  <a:pt x="16250" y="14730"/>
                </a:lnTo>
                <a:lnTo>
                  <a:pt x="16439" y="14598"/>
                </a:lnTo>
                <a:lnTo>
                  <a:pt x="16659" y="14459"/>
                </a:lnTo>
                <a:lnTo>
                  <a:pt x="16893" y="14271"/>
                </a:lnTo>
                <a:lnTo>
                  <a:pt x="17032" y="14315"/>
                </a:lnTo>
                <a:lnTo>
                  <a:pt x="17105" y="14392"/>
                </a:lnTo>
                <a:lnTo>
                  <a:pt x="17213" y="14362"/>
                </a:lnTo>
                <a:lnTo>
                  <a:pt x="17405" y="14372"/>
                </a:lnTo>
                <a:lnTo>
                  <a:pt x="17460" y="14401"/>
                </a:lnTo>
                <a:lnTo>
                  <a:pt x="17417" y="14498"/>
                </a:lnTo>
                <a:lnTo>
                  <a:pt x="17639" y="14542"/>
                </a:lnTo>
                <a:lnTo>
                  <a:pt x="17733" y="14488"/>
                </a:lnTo>
                <a:lnTo>
                  <a:pt x="17886" y="14257"/>
                </a:lnTo>
                <a:lnTo>
                  <a:pt x="17952" y="14367"/>
                </a:lnTo>
                <a:lnTo>
                  <a:pt x="18008" y="14534"/>
                </a:lnTo>
                <a:lnTo>
                  <a:pt x="18098" y="14675"/>
                </a:lnTo>
                <a:lnTo>
                  <a:pt x="18225" y="14889"/>
                </a:lnTo>
                <a:lnTo>
                  <a:pt x="18386" y="14970"/>
                </a:lnTo>
                <a:lnTo>
                  <a:pt x="18430" y="15032"/>
                </a:lnTo>
                <a:lnTo>
                  <a:pt x="18498" y="15163"/>
                </a:lnTo>
                <a:lnTo>
                  <a:pt x="18592" y="15225"/>
                </a:lnTo>
                <a:lnTo>
                  <a:pt x="18647" y="15246"/>
                </a:lnTo>
                <a:lnTo>
                  <a:pt x="18721" y="15326"/>
                </a:lnTo>
                <a:lnTo>
                  <a:pt x="18808" y="15444"/>
                </a:lnTo>
                <a:lnTo>
                  <a:pt x="18940" y="15446"/>
                </a:lnTo>
                <a:lnTo>
                  <a:pt x="18982" y="15365"/>
                </a:lnTo>
                <a:lnTo>
                  <a:pt x="19005" y="15242"/>
                </a:lnTo>
                <a:lnTo>
                  <a:pt x="19103" y="15099"/>
                </a:lnTo>
                <a:lnTo>
                  <a:pt x="19061" y="15096"/>
                </a:lnTo>
                <a:lnTo>
                  <a:pt x="19092" y="14949"/>
                </a:lnTo>
                <a:lnTo>
                  <a:pt x="19149" y="14880"/>
                </a:lnTo>
                <a:lnTo>
                  <a:pt x="19101" y="14672"/>
                </a:lnTo>
                <a:lnTo>
                  <a:pt x="19118" y="14503"/>
                </a:lnTo>
                <a:lnTo>
                  <a:pt x="19082" y="14406"/>
                </a:lnTo>
                <a:lnTo>
                  <a:pt x="19012" y="14266"/>
                </a:lnTo>
                <a:lnTo>
                  <a:pt x="19014" y="14133"/>
                </a:lnTo>
                <a:lnTo>
                  <a:pt x="19062" y="14069"/>
                </a:lnTo>
                <a:lnTo>
                  <a:pt x="19141" y="13916"/>
                </a:lnTo>
                <a:lnTo>
                  <a:pt x="19181" y="13825"/>
                </a:lnTo>
                <a:lnTo>
                  <a:pt x="19161" y="13766"/>
                </a:lnTo>
                <a:lnTo>
                  <a:pt x="19231" y="13561"/>
                </a:lnTo>
                <a:lnTo>
                  <a:pt x="19275" y="13389"/>
                </a:lnTo>
                <a:lnTo>
                  <a:pt x="19322" y="13101"/>
                </a:lnTo>
                <a:lnTo>
                  <a:pt x="19417" y="12837"/>
                </a:lnTo>
                <a:lnTo>
                  <a:pt x="19431" y="12695"/>
                </a:lnTo>
                <a:lnTo>
                  <a:pt x="19382" y="12606"/>
                </a:lnTo>
                <a:lnTo>
                  <a:pt x="19474" y="12426"/>
                </a:lnTo>
                <a:lnTo>
                  <a:pt x="19531" y="12342"/>
                </a:lnTo>
                <a:lnTo>
                  <a:pt x="19521" y="12278"/>
                </a:lnTo>
                <a:lnTo>
                  <a:pt x="19558" y="12241"/>
                </a:lnTo>
                <a:lnTo>
                  <a:pt x="19588" y="12217"/>
                </a:lnTo>
                <a:lnTo>
                  <a:pt x="19588" y="12177"/>
                </a:lnTo>
                <a:lnTo>
                  <a:pt x="19633" y="12148"/>
                </a:lnTo>
                <a:lnTo>
                  <a:pt x="19623" y="12039"/>
                </a:lnTo>
                <a:lnTo>
                  <a:pt x="19590" y="11999"/>
                </a:lnTo>
                <a:lnTo>
                  <a:pt x="19662" y="11886"/>
                </a:lnTo>
                <a:lnTo>
                  <a:pt x="19730" y="11904"/>
                </a:lnTo>
                <a:lnTo>
                  <a:pt x="19774" y="11940"/>
                </a:lnTo>
                <a:lnTo>
                  <a:pt x="19811" y="11995"/>
                </a:lnTo>
                <a:lnTo>
                  <a:pt x="19863" y="12022"/>
                </a:lnTo>
                <a:lnTo>
                  <a:pt x="19961" y="12027"/>
                </a:lnTo>
                <a:lnTo>
                  <a:pt x="20010" y="11967"/>
                </a:lnTo>
                <a:lnTo>
                  <a:pt x="20022" y="12025"/>
                </a:lnTo>
                <a:lnTo>
                  <a:pt x="20140" y="12059"/>
                </a:lnTo>
                <a:lnTo>
                  <a:pt x="20202" y="12143"/>
                </a:lnTo>
                <a:lnTo>
                  <a:pt x="20239" y="12339"/>
                </a:lnTo>
                <a:lnTo>
                  <a:pt x="20293" y="12281"/>
                </a:lnTo>
                <a:lnTo>
                  <a:pt x="20335" y="12216"/>
                </a:lnTo>
                <a:lnTo>
                  <a:pt x="20375" y="11975"/>
                </a:lnTo>
                <a:lnTo>
                  <a:pt x="20390" y="11825"/>
                </a:lnTo>
                <a:lnTo>
                  <a:pt x="20457" y="11860"/>
                </a:lnTo>
                <a:lnTo>
                  <a:pt x="20527" y="11983"/>
                </a:lnTo>
                <a:lnTo>
                  <a:pt x="20597" y="12076"/>
                </a:lnTo>
                <a:lnTo>
                  <a:pt x="20643" y="12079"/>
                </a:lnTo>
                <a:lnTo>
                  <a:pt x="20679" y="12216"/>
                </a:lnTo>
                <a:lnTo>
                  <a:pt x="20720" y="12236"/>
                </a:lnTo>
                <a:lnTo>
                  <a:pt x="20728" y="12367"/>
                </a:lnTo>
                <a:lnTo>
                  <a:pt x="20758" y="12438"/>
                </a:lnTo>
                <a:lnTo>
                  <a:pt x="20768" y="12589"/>
                </a:lnTo>
                <a:lnTo>
                  <a:pt x="20778" y="12675"/>
                </a:lnTo>
                <a:lnTo>
                  <a:pt x="20803" y="12711"/>
                </a:lnTo>
                <a:lnTo>
                  <a:pt x="20798" y="12621"/>
                </a:lnTo>
                <a:lnTo>
                  <a:pt x="20838" y="12604"/>
                </a:lnTo>
                <a:lnTo>
                  <a:pt x="20880" y="12589"/>
                </a:lnTo>
                <a:lnTo>
                  <a:pt x="20902" y="12621"/>
                </a:lnTo>
                <a:lnTo>
                  <a:pt x="20930" y="12606"/>
                </a:lnTo>
                <a:lnTo>
                  <a:pt x="20951" y="12621"/>
                </a:lnTo>
                <a:lnTo>
                  <a:pt x="20957" y="12717"/>
                </a:lnTo>
                <a:lnTo>
                  <a:pt x="20986" y="12724"/>
                </a:lnTo>
                <a:lnTo>
                  <a:pt x="21004" y="12795"/>
                </a:lnTo>
                <a:lnTo>
                  <a:pt x="21041" y="12783"/>
                </a:lnTo>
                <a:lnTo>
                  <a:pt x="21051" y="12822"/>
                </a:lnTo>
                <a:lnTo>
                  <a:pt x="21115" y="12732"/>
                </a:lnTo>
                <a:lnTo>
                  <a:pt x="21162" y="12670"/>
                </a:lnTo>
                <a:lnTo>
                  <a:pt x="21190" y="12557"/>
                </a:lnTo>
                <a:lnTo>
                  <a:pt x="21190" y="12519"/>
                </a:lnTo>
                <a:lnTo>
                  <a:pt x="21168" y="12482"/>
                </a:lnTo>
                <a:lnTo>
                  <a:pt x="21150" y="12503"/>
                </a:lnTo>
                <a:lnTo>
                  <a:pt x="21141" y="12451"/>
                </a:lnTo>
                <a:lnTo>
                  <a:pt x="21133" y="12428"/>
                </a:lnTo>
                <a:lnTo>
                  <a:pt x="21133" y="12362"/>
                </a:lnTo>
                <a:lnTo>
                  <a:pt x="21120" y="12296"/>
                </a:lnTo>
                <a:lnTo>
                  <a:pt x="21091" y="12286"/>
                </a:lnTo>
                <a:lnTo>
                  <a:pt x="21053" y="12307"/>
                </a:lnTo>
                <a:lnTo>
                  <a:pt x="21039" y="12330"/>
                </a:lnTo>
                <a:lnTo>
                  <a:pt x="21004" y="12349"/>
                </a:lnTo>
                <a:lnTo>
                  <a:pt x="20971" y="12426"/>
                </a:lnTo>
                <a:lnTo>
                  <a:pt x="20930" y="12443"/>
                </a:lnTo>
                <a:lnTo>
                  <a:pt x="20899" y="12372"/>
                </a:lnTo>
                <a:lnTo>
                  <a:pt x="20853" y="12328"/>
                </a:lnTo>
                <a:lnTo>
                  <a:pt x="20817" y="12419"/>
                </a:lnTo>
                <a:lnTo>
                  <a:pt x="20790" y="12347"/>
                </a:lnTo>
                <a:lnTo>
                  <a:pt x="20780" y="12200"/>
                </a:lnTo>
                <a:lnTo>
                  <a:pt x="20758" y="11956"/>
                </a:lnTo>
                <a:lnTo>
                  <a:pt x="20718" y="11820"/>
                </a:lnTo>
                <a:lnTo>
                  <a:pt x="20763" y="11692"/>
                </a:lnTo>
                <a:lnTo>
                  <a:pt x="20788" y="11803"/>
                </a:lnTo>
                <a:lnTo>
                  <a:pt x="20830" y="11677"/>
                </a:lnTo>
                <a:lnTo>
                  <a:pt x="20889" y="11598"/>
                </a:lnTo>
                <a:lnTo>
                  <a:pt x="20949" y="11642"/>
                </a:lnTo>
                <a:lnTo>
                  <a:pt x="20984" y="11640"/>
                </a:lnTo>
                <a:lnTo>
                  <a:pt x="21024" y="11532"/>
                </a:lnTo>
                <a:lnTo>
                  <a:pt x="21071" y="11485"/>
                </a:lnTo>
                <a:lnTo>
                  <a:pt x="21081" y="11603"/>
                </a:lnTo>
                <a:lnTo>
                  <a:pt x="21113" y="11620"/>
                </a:lnTo>
                <a:lnTo>
                  <a:pt x="21131" y="11332"/>
                </a:lnTo>
                <a:lnTo>
                  <a:pt x="21131" y="11118"/>
                </a:lnTo>
                <a:lnTo>
                  <a:pt x="21143" y="10876"/>
                </a:lnTo>
                <a:lnTo>
                  <a:pt x="21141" y="10680"/>
                </a:lnTo>
                <a:lnTo>
                  <a:pt x="21074" y="10468"/>
                </a:lnTo>
                <a:lnTo>
                  <a:pt x="20979" y="10334"/>
                </a:lnTo>
                <a:lnTo>
                  <a:pt x="20924" y="10335"/>
                </a:lnTo>
                <a:lnTo>
                  <a:pt x="20865" y="10399"/>
                </a:lnTo>
                <a:lnTo>
                  <a:pt x="20765" y="10391"/>
                </a:lnTo>
                <a:lnTo>
                  <a:pt x="20678" y="10384"/>
                </a:lnTo>
                <a:lnTo>
                  <a:pt x="20644" y="10276"/>
                </a:lnTo>
                <a:lnTo>
                  <a:pt x="20611" y="10053"/>
                </a:lnTo>
                <a:lnTo>
                  <a:pt x="20594" y="9772"/>
                </a:lnTo>
                <a:lnTo>
                  <a:pt x="20594" y="9686"/>
                </a:lnTo>
                <a:lnTo>
                  <a:pt x="20648" y="9531"/>
                </a:lnTo>
                <a:lnTo>
                  <a:pt x="20669" y="9605"/>
                </a:lnTo>
                <a:lnTo>
                  <a:pt x="20721" y="9645"/>
                </a:lnTo>
                <a:lnTo>
                  <a:pt x="20730" y="9559"/>
                </a:lnTo>
                <a:lnTo>
                  <a:pt x="20666" y="9400"/>
                </a:lnTo>
                <a:lnTo>
                  <a:pt x="20674" y="9233"/>
                </a:lnTo>
                <a:lnTo>
                  <a:pt x="20659" y="8982"/>
                </a:lnTo>
                <a:lnTo>
                  <a:pt x="20629" y="8849"/>
                </a:lnTo>
                <a:lnTo>
                  <a:pt x="20656" y="8834"/>
                </a:lnTo>
                <a:lnTo>
                  <a:pt x="20629" y="8703"/>
                </a:lnTo>
                <a:lnTo>
                  <a:pt x="20626" y="8531"/>
                </a:lnTo>
                <a:lnTo>
                  <a:pt x="20609" y="8450"/>
                </a:lnTo>
                <a:lnTo>
                  <a:pt x="20666" y="8575"/>
                </a:lnTo>
                <a:lnTo>
                  <a:pt x="20658" y="8422"/>
                </a:lnTo>
                <a:lnTo>
                  <a:pt x="20621" y="8300"/>
                </a:lnTo>
                <a:lnTo>
                  <a:pt x="20661" y="8214"/>
                </a:lnTo>
                <a:lnTo>
                  <a:pt x="20708" y="8189"/>
                </a:lnTo>
                <a:lnTo>
                  <a:pt x="20843" y="8374"/>
                </a:lnTo>
                <a:lnTo>
                  <a:pt x="20894" y="8485"/>
                </a:lnTo>
                <a:lnTo>
                  <a:pt x="20989" y="8603"/>
                </a:lnTo>
                <a:lnTo>
                  <a:pt x="20999" y="8701"/>
                </a:lnTo>
                <a:lnTo>
                  <a:pt x="21018" y="8767"/>
                </a:lnTo>
                <a:lnTo>
                  <a:pt x="21034" y="8760"/>
                </a:lnTo>
                <a:lnTo>
                  <a:pt x="21039" y="8713"/>
                </a:lnTo>
                <a:lnTo>
                  <a:pt x="21081" y="8773"/>
                </a:lnTo>
                <a:lnTo>
                  <a:pt x="21056" y="8672"/>
                </a:lnTo>
                <a:lnTo>
                  <a:pt x="21063" y="8686"/>
                </a:lnTo>
                <a:lnTo>
                  <a:pt x="21083" y="8708"/>
                </a:lnTo>
                <a:lnTo>
                  <a:pt x="21105" y="8693"/>
                </a:lnTo>
                <a:lnTo>
                  <a:pt x="21096" y="8666"/>
                </a:lnTo>
                <a:lnTo>
                  <a:pt x="21098" y="8666"/>
                </a:lnTo>
                <a:lnTo>
                  <a:pt x="21140" y="8778"/>
                </a:lnTo>
                <a:lnTo>
                  <a:pt x="21145" y="8782"/>
                </a:lnTo>
                <a:lnTo>
                  <a:pt x="21148" y="8824"/>
                </a:lnTo>
                <a:lnTo>
                  <a:pt x="21175" y="8824"/>
                </a:lnTo>
                <a:lnTo>
                  <a:pt x="21188" y="8812"/>
                </a:lnTo>
                <a:lnTo>
                  <a:pt x="21150" y="8684"/>
                </a:lnTo>
                <a:lnTo>
                  <a:pt x="21140" y="8699"/>
                </a:lnTo>
                <a:lnTo>
                  <a:pt x="21141" y="8718"/>
                </a:lnTo>
                <a:lnTo>
                  <a:pt x="21130" y="8676"/>
                </a:lnTo>
                <a:lnTo>
                  <a:pt x="21111" y="8536"/>
                </a:lnTo>
                <a:lnTo>
                  <a:pt x="21126" y="8501"/>
                </a:lnTo>
                <a:lnTo>
                  <a:pt x="21106" y="8427"/>
                </a:lnTo>
                <a:lnTo>
                  <a:pt x="21121" y="8423"/>
                </a:lnTo>
                <a:lnTo>
                  <a:pt x="21125" y="8358"/>
                </a:lnTo>
                <a:lnTo>
                  <a:pt x="21105" y="8295"/>
                </a:lnTo>
                <a:lnTo>
                  <a:pt x="21101" y="8319"/>
                </a:lnTo>
                <a:lnTo>
                  <a:pt x="21076" y="8251"/>
                </a:lnTo>
                <a:lnTo>
                  <a:pt x="21076" y="8381"/>
                </a:lnTo>
                <a:lnTo>
                  <a:pt x="21090" y="8459"/>
                </a:lnTo>
                <a:lnTo>
                  <a:pt x="21093" y="8526"/>
                </a:lnTo>
                <a:lnTo>
                  <a:pt x="21091" y="8524"/>
                </a:lnTo>
                <a:lnTo>
                  <a:pt x="21074" y="8450"/>
                </a:lnTo>
                <a:lnTo>
                  <a:pt x="20991" y="8257"/>
                </a:lnTo>
                <a:lnTo>
                  <a:pt x="20989" y="8257"/>
                </a:lnTo>
                <a:lnTo>
                  <a:pt x="20941" y="8135"/>
                </a:lnTo>
                <a:lnTo>
                  <a:pt x="20907" y="8115"/>
                </a:lnTo>
                <a:lnTo>
                  <a:pt x="20880" y="8051"/>
                </a:lnTo>
                <a:lnTo>
                  <a:pt x="20867" y="8039"/>
                </a:lnTo>
                <a:lnTo>
                  <a:pt x="20887" y="8110"/>
                </a:lnTo>
                <a:lnTo>
                  <a:pt x="20880" y="8172"/>
                </a:lnTo>
                <a:lnTo>
                  <a:pt x="20887" y="8260"/>
                </a:lnTo>
                <a:lnTo>
                  <a:pt x="20937" y="8384"/>
                </a:lnTo>
                <a:lnTo>
                  <a:pt x="20890" y="8322"/>
                </a:lnTo>
                <a:lnTo>
                  <a:pt x="20848" y="8085"/>
                </a:lnTo>
                <a:lnTo>
                  <a:pt x="20780" y="7853"/>
                </a:lnTo>
                <a:lnTo>
                  <a:pt x="20721" y="7726"/>
                </a:lnTo>
                <a:lnTo>
                  <a:pt x="20659" y="7642"/>
                </a:lnTo>
                <a:lnTo>
                  <a:pt x="20604" y="7575"/>
                </a:lnTo>
                <a:lnTo>
                  <a:pt x="20524" y="7445"/>
                </a:lnTo>
                <a:lnTo>
                  <a:pt x="20381" y="7279"/>
                </a:lnTo>
                <a:lnTo>
                  <a:pt x="20221" y="7088"/>
                </a:lnTo>
                <a:lnTo>
                  <a:pt x="20154" y="7053"/>
                </a:lnTo>
                <a:lnTo>
                  <a:pt x="20099" y="7034"/>
                </a:lnTo>
                <a:lnTo>
                  <a:pt x="20075" y="7080"/>
                </a:lnTo>
                <a:lnTo>
                  <a:pt x="20025" y="7034"/>
                </a:lnTo>
                <a:lnTo>
                  <a:pt x="20011" y="7018"/>
                </a:lnTo>
                <a:lnTo>
                  <a:pt x="20010" y="7021"/>
                </a:lnTo>
                <a:lnTo>
                  <a:pt x="19913" y="6930"/>
                </a:lnTo>
                <a:lnTo>
                  <a:pt x="19901" y="6940"/>
                </a:lnTo>
                <a:lnTo>
                  <a:pt x="19837" y="6883"/>
                </a:lnTo>
                <a:lnTo>
                  <a:pt x="19770" y="6907"/>
                </a:lnTo>
                <a:lnTo>
                  <a:pt x="19685" y="6907"/>
                </a:lnTo>
                <a:lnTo>
                  <a:pt x="19586" y="6875"/>
                </a:lnTo>
                <a:lnTo>
                  <a:pt x="19536" y="6964"/>
                </a:lnTo>
                <a:lnTo>
                  <a:pt x="19457" y="6841"/>
                </a:lnTo>
                <a:lnTo>
                  <a:pt x="19395" y="6679"/>
                </a:lnTo>
                <a:lnTo>
                  <a:pt x="19330" y="6578"/>
                </a:lnTo>
                <a:lnTo>
                  <a:pt x="19282" y="6381"/>
                </a:lnTo>
                <a:lnTo>
                  <a:pt x="19226" y="6361"/>
                </a:lnTo>
                <a:lnTo>
                  <a:pt x="19231" y="6439"/>
                </a:lnTo>
                <a:lnTo>
                  <a:pt x="19196" y="6516"/>
                </a:lnTo>
                <a:lnTo>
                  <a:pt x="19287" y="6710"/>
                </a:lnTo>
                <a:lnTo>
                  <a:pt x="19258" y="6782"/>
                </a:lnTo>
                <a:lnTo>
                  <a:pt x="19208" y="6750"/>
                </a:lnTo>
                <a:lnTo>
                  <a:pt x="19193" y="6836"/>
                </a:lnTo>
                <a:lnTo>
                  <a:pt x="19116" y="6843"/>
                </a:lnTo>
                <a:lnTo>
                  <a:pt x="19059" y="6743"/>
                </a:lnTo>
                <a:lnTo>
                  <a:pt x="19051" y="6622"/>
                </a:lnTo>
                <a:lnTo>
                  <a:pt x="18970" y="6499"/>
                </a:lnTo>
                <a:lnTo>
                  <a:pt x="18877" y="6312"/>
                </a:lnTo>
                <a:lnTo>
                  <a:pt x="18825" y="6186"/>
                </a:lnTo>
                <a:lnTo>
                  <a:pt x="18882" y="6163"/>
                </a:lnTo>
                <a:lnTo>
                  <a:pt x="18972" y="6306"/>
                </a:lnTo>
                <a:lnTo>
                  <a:pt x="19015" y="6309"/>
                </a:lnTo>
                <a:lnTo>
                  <a:pt x="19076" y="6408"/>
                </a:lnTo>
                <a:lnTo>
                  <a:pt x="19032" y="6258"/>
                </a:lnTo>
                <a:lnTo>
                  <a:pt x="18967" y="6137"/>
                </a:lnTo>
                <a:lnTo>
                  <a:pt x="18908" y="5952"/>
                </a:lnTo>
                <a:lnTo>
                  <a:pt x="18932" y="5915"/>
                </a:lnTo>
                <a:lnTo>
                  <a:pt x="18932" y="5903"/>
                </a:lnTo>
                <a:lnTo>
                  <a:pt x="18959" y="5903"/>
                </a:lnTo>
                <a:lnTo>
                  <a:pt x="18955" y="5878"/>
                </a:lnTo>
                <a:lnTo>
                  <a:pt x="18933" y="5873"/>
                </a:lnTo>
                <a:lnTo>
                  <a:pt x="18933" y="5854"/>
                </a:lnTo>
                <a:lnTo>
                  <a:pt x="18950" y="5858"/>
                </a:lnTo>
                <a:lnTo>
                  <a:pt x="19019" y="5925"/>
                </a:lnTo>
                <a:lnTo>
                  <a:pt x="19037" y="5927"/>
                </a:lnTo>
                <a:lnTo>
                  <a:pt x="19044" y="5942"/>
                </a:lnTo>
                <a:lnTo>
                  <a:pt x="19017" y="5934"/>
                </a:lnTo>
                <a:lnTo>
                  <a:pt x="19029" y="5982"/>
                </a:lnTo>
                <a:lnTo>
                  <a:pt x="19061" y="6028"/>
                </a:lnTo>
                <a:lnTo>
                  <a:pt x="19116" y="6035"/>
                </a:lnTo>
                <a:lnTo>
                  <a:pt x="19176" y="6013"/>
                </a:lnTo>
                <a:lnTo>
                  <a:pt x="19211" y="5952"/>
                </a:lnTo>
                <a:lnTo>
                  <a:pt x="19198" y="5924"/>
                </a:lnTo>
                <a:lnTo>
                  <a:pt x="19181" y="5945"/>
                </a:lnTo>
                <a:lnTo>
                  <a:pt x="19143" y="5934"/>
                </a:lnTo>
                <a:lnTo>
                  <a:pt x="19124" y="5939"/>
                </a:lnTo>
                <a:lnTo>
                  <a:pt x="19111" y="5924"/>
                </a:lnTo>
                <a:lnTo>
                  <a:pt x="19121" y="5878"/>
                </a:lnTo>
                <a:lnTo>
                  <a:pt x="19200" y="5854"/>
                </a:lnTo>
                <a:lnTo>
                  <a:pt x="19236" y="5957"/>
                </a:lnTo>
                <a:lnTo>
                  <a:pt x="19339" y="5977"/>
                </a:lnTo>
                <a:lnTo>
                  <a:pt x="19384" y="6019"/>
                </a:lnTo>
                <a:lnTo>
                  <a:pt x="19372" y="6046"/>
                </a:lnTo>
                <a:lnTo>
                  <a:pt x="19404" y="6115"/>
                </a:lnTo>
                <a:lnTo>
                  <a:pt x="19431" y="6072"/>
                </a:lnTo>
                <a:lnTo>
                  <a:pt x="19444" y="6065"/>
                </a:lnTo>
                <a:lnTo>
                  <a:pt x="19476" y="6082"/>
                </a:lnTo>
                <a:lnTo>
                  <a:pt x="19471" y="6062"/>
                </a:lnTo>
                <a:lnTo>
                  <a:pt x="19513" y="6078"/>
                </a:lnTo>
                <a:lnTo>
                  <a:pt x="19576" y="6102"/>
                </a:lnTo>
                <a:lnTo>
                  <a:pt x="19653" y="6161"/>
                </a:lnTo>
                <a:lnTo>
                  <a:pt x="19626" y="6099"/>
                </a:lnTo>
                <a:lnTo>
                  <a:pt x="19568" y="6062"/>
                </a:lnTo>
                <a:lnTo>
                  <a:pt x="19531" y="6043"/>
                </a:lnTo>
                <a:lnTo>
                  <a:pt x="19484" y="6018"/>
                </a:lnTo>
                <a:lnTo>
                  <a:pt x="19459" y="6016"/>
                </a:lnTo>
                <a:lnTo>
                  <a:pt x="19444" y="5962"/>
                </a:lnTo>
                <a:lnTo>
                  <a:pt x="19377" y="5834"/>
                </a:lnTo>
                <a:lnTo>
                  <a:pt x="19330" y="5708"/>
                </a:lnTo>
                <a:lnTo>
                  <a:pt x="19260" y="5624"/>
                </a:lnTo>
                <a:lnTo>
                  <a:pt x="19136" y="5548"/>
                </a:lnTo>
                <a:lnTo>
                  <a:pt x="19072" y="5535"/>
                </a:lnTo>
                <a:lnTo>
                  <a:pt x="18967" y="5560"/>
                </a:lnTo>
                <a:lnTo>
                  <a:pt x="18932" y="5599"/>
                </a:lnTo>
                <a:lnTo>
                  <a:pt x="18923" y="5634"/>
                </a:lnTo>
                <a:lnTo>
                  <a:pt x="18908" y="5614"/>
                </a:lnTo>
                <a:lnTo>
                  <a:pt x="18856" y="5582"/>
                </a:lnTo>
                <a:lnTo>
                  <a:pt x="18813" y="5514"/>
                </a:lnTo>
                <a:lnTo>
                  <a:pt x="18776" y="5427"/>
                </a:lnTo>
                <a:lnTo>
                  <a:pt x="18729" y="5366"/>
                </a:lnTo>
                <a:lnTo>
                  <a:pt x="18704" y="5334"/>
                </a:lnTo>
                <a:lnTo>
                  <a:pt x="18661" y="5262"/>
                </a:lnTo>
                <a:lnTo>
                  <a:pt x="18577" y="5225"/>
                </a:lnTo>
                <a:lnTo>
                  <a:pt x="18527" y="5171"/>
                </a:lnTo>
                <a:lnTo>
                  <a:pt x="18471" y="5104"/>
                </a:lnTo>
                <a:lnTo>
                  <a:pt x="18466" y="5065"/>
                </a:lnTo>
                <a:lnTo>
                  <a:pt x="18420" y="5030"/>
                </a:lnTo>
                <a:lnTo>
                  <a:pt x="18284" y="4845"/>
                </a:lnTo>
                <a:lnTo>
                  <a:pt x="18321" y="4801"/>
                </a:lnTo>
                <a:lnTo>
                  <a:pt x="18294" y="4732"/>
                </a:lnTo>
                <a:lnTo>
                  <a:pt x="18170" y="4562"/>
                </a:lnTo>
                <a:lnTo>
                  <a:pt x="18070" y="4467"/>
                </a:lnTo>
                <a:lnTo>
                  <a:pt x="17869" y="4279"/>
                </a:lnTo>
                <a:lnTo>
                  <a:pt x="17661" y="4100"/>
                </a:lnTo>
                <a:lnTo>
                  <a:pt x="17557" y="4045"/>
                </a:lnTo>
                <a:lnTo>
                  <a:pt x="17301" y="3858"/>
                </a:lnTo>
                <a:lnTo>
                  <a:pt x="17072" y="3777"/>
                </a:lnTo>
                <a:lnTo>
                  <a:pt x="16910" y="3745"/>
                </a:lnTo>
                <a:lnTo>
                  <a:pt x="16739" y="3659"/>
                </a:lnTo>
                <a:lnTo>
                  <a:pt x="16625" y="3649"/>
                </a:lnTo>
                <a:lnTo>
                  <a:pt x="16538" y="3755"/>
                </a:lnTo>
                <a:lnTo>
                  <a:pt x="16575" y="3845"/>
                </a:lnTo>
                <a:lnTo>
                  <a:pt x="16670" y="3909"/>
                </a:lnTo>
                <a:lnTo>
                  <a:pt x="16677" y="3986"/>
                </a:lnTo>
                <a:lnTo>
                  <a:pt x="16607" y="4015"/>
                </a:lnTo>
                <a:lnTo>
                  <a:pt x="16643" y="4146"/>
                </a:lnTo>
                <a:lnTo>
                  <a:pt x="16163" y="3794"/>
                </a:lnTo>
                <a:lnTo>
                  <a:pt x="15751" y="3543"/>
                </a:lnTo>
                <a:lnTo>
                  <a:pt x="15567" y="3313"/>
                </a:lnTo>
                <a:lnTo>
                  <a:pt x="15445" y="3102"/>
                </a:lnTo>
                <a:lnTo>
                  <a:pt x="15314" y="3028"/>
                </a:lnTo>
                <a:lnTo>
                  <a:pt x="15254" y="2924"/>
                </a:lnTo>
                <a:lnTo>
                  <a:pt x="15353" y="2914"/>
                </a:lnTo>
                <a:lnTo>
                  <a:pt x="15254" y="2816"/>
                </a:lnTo>
                <a:lnTo>
                  <a:pt x="15092" y="2680"/>
                </a:lnTo>
                <a:lnTo>
                  <a:pt x="15062" y="2747"/>
                </a:lnTo>
                <a:lnTo>
                  <a:pt x="14705" y="2650"/>
                </a:lnTo>
                <a:lnTo>
                  <a:pt x="14511" y="2520"/>
                </a:lnTo>
                <a:lnTo>
                  <a:pt x="14610" y="2427"/>
                </a:lnTo>
                <a:lnTo>
                  <a:pt x="14320" y="2338"/>
                </a:lnTo>
                <a:lnTo>
                  <a:pt x="14188" y="2347"/>
                </a:lnTo>
                <a:lnTo>
                  <a:pt x="14101" y="2291"/>
                </a:lnTo>
                <a:lnTo>
                  <a:pt x="14312" y="2262"/>
                </a:lnTo>
                <a:lnTo>
                  <a:pt x="14521" y="2323"/>
                </a:lnTo>
                <a:lnTo>
                  <a:pt x="14752" y="2380"/>
                </a:lnTo>
                <a:lnTo>
                  <a:pt x="15018" y="2444"/>
                </a:lnTo>
                <a:lnTo>
                  <a:pt x="15145" y="2535"/>
                </a:lnTo>
                <a:lnTo>
                  <a:pt x="15206" y="2527"/>
                </a:lnTo>
                <a:lnTo>
                  <a:pt x="15333" y="2567"/>
                </a:lnTo>
                <a:lnTo>
                  <a:pt x="15532" y="2572"/>
                </a:lnTo>
                <a:lnTo>
                  <a:pt x="15756" y="2500"/>
                </a:lnTo>
                <a:lnTo>
                  <a:pt x="15892" y="2451"/>
                </a:lnTo>
                <a:lnTo>
                  <a:pt x="15942" y="2417"/>
                </a:lnTo>
                <a:lnTo>
                  <a:pt x="15729" y="2323"/>
                </a:lnTo>
                <a:lnTo>
                  <a:pt x="15594" y="2316"/>
                </a:lnTo>
                <a:lnTo>
                  <a:pt x="15455" y="2219"/>
                </a:lnTo>
                <a:lnTo>
                  <a:pt x="15303" y="2220"/>
                </a:lnTo>
                <a:lnTo>
                  <a:pt x="15115" y="2121"/>
                </a:lnTo>
                <a:lnTo>
                  <a:pt x="15100" y="2160"/>
                </a:lnTo>
                <a:lnTo>
                  <a:pt x="14976" y="2156"/>
                </a:lnTo>
                <a:lnTo>
                  <a:pt x="14903" y="2102"/>
                </a:lnTo>
                <a:lnTo>
                  <a:pt x="14735" y="2145"/>
                </a:lnTo>
                <a:lnTo>
                  <a:pt x="14792" y="2217"/>
                </a:lnTo>
                <a:lnTo>
                  <a:pt x="14749" y="2234"/>
                </a:lnTo>
                <a:lnTo>
                  <a:pt x="14558" y="2203"/>
                </a:lnTo>
                <a:lnTo>
                  <a:pt x="14462" y="2214"/>
                </a:lnTo>
                <a:lnTo>
                  <a:pt x="14385" y="2138"/>
                </a:lnTo>
                <a:lnTo>
                  <a:pt x="14271" y="2107"/>
                </a:lnTo>
                <a:lnTo>
                  <a:pt x="14278" y="2067"/>
                </a:lnTo>
                <a:lnTo>
                  <a:pt x="14010" y="1980"/>
                </a:lnTo>
                <a:lnTo>
                  <a:pt x="13973" y="1877"/>
                </a:lnTo>
                <a:lnTo>
                  <a:pt x="13901" y="1884"/>
                </a:lnTo>
                <a:lnTo>
                  <a:pt x="13736" y="1855"/>
                </a:lnTo>
                <a:lnTo>
                  <a:pt x="13557" y="1833"/>
                </a:lnTo>
                <a:lnTo>
                  <a:pt x="13480" y="1804"/>
                </a:lnTo>
                <a:lnTo>
                  <a:pt x="13207" y="1751"/>
                </a:lnTo>
                <a:lnTo>
                  <a:pt x="13081" y="1672"/>
                </a:lnTo>
                <a:lnTo>
                  <a:pt x="13041" y="1682"/>
                </a:lnTo>
                <a:lnTo>
                  <a:pt x="13019" y="1715"/>
                </a:lnTo>
                <a:lnTo>
                  <a:pt x="13033" y="1751"/>
                </a:lnTo>
                <a:lnTo>
                  <a:pt x="13011" y="1831"/>
                </a:lnTo>
                <a:lnTo>
                  <a:pt x="13031" y="1900"/>
                </a:lnTo>
                <a:lnTo>
                  <a:pt x="12946" y="1853"/>
                </a:lnTo>
                <a:lnTo>
                  <a:pt x="12820" y="1847"/>
                </a:lnTo>
                <a:lnTo>
                  <a:pt x="12818" y="1848"/>
                </a:lnTo>
                <a:lnTo>
                  <a:pt x="12746" y="1865"/>
                </a:lnTo>
                <a:lnTo>
                  <a:pt x="12741" y="1916"/>
                </a:lnTo>
                <a:lnTo>
                  <a:pt x="12643" y="1902"/>
                </a:lnTo>
                <a:lnTo>
                  <a:pt x="12684" y="1877"/>
                </a:lnTo>
                <a:lnTo>
                  <a:pt x="12673" y="1833"/>
                </a:lnTo>
                <a:lnTo>
                  <a:pt x="12582" y="1815"/>
                </a:lnTo>
                <a:lnTo>
                  <a:pt x="12522" y="1774"/>
                </a:lnTo>
                <a:lnTo>
                  <a:pt x="12534" y="1732"/>
                </a:lnTo>
                <a:lnTo>
                  <a:pt x="12455" y="1675"/>
                </a:lnTo>
                <a:lnTo>
                  <a:pt x="12418" y="1628"/>
                </a:lnTo>
                <a:lnTo>
                  <a:pt x="12350" y="1602"/>
                </a:lnTo>
                <a:close/>
                <a:moveTo>
                  <a:pt x="12207" y="2331"/>
                </a:moveTo>
                <a:lnTo>
                  <a:pt x="12192" y="2343"/>
                </a:lnTo>
                <a:lnTo>
                  <a:pt x="12248" y="2402"/>
                </a:lnTo>
                <a:lnTo>
                  <a:pt x="12293" y="2421"/>
                </a:lnTo>
                <a:lnTo>
                  <a:pt x="12303" y="2419"/>
                </a:lnTo>
                <a:lnTo>
                  <a:pt x="12405" y="2409"/>
                </a:lnTo>
                <a:lnTo>
                  <a:pt x="12422" y="2375"/>
                </a:lnTo>
                <a:lnTo>
                  <a:pt x="12358" y="2355"/>
                </a:lnTo>
                <a:lnTo>
                  <a:pt x="12281" y="2331"/>
                </a:lnTo>
                <a:lnTo>
                  <a:pt x="12207" y="2331"/>
                </a:lnTo>
                <a:close/>
                <a:moveTo>
                  <a:pt x="9008" y="2431"/>
                </a:moveTo>
                <a:lnTo>
                  <a:pt x="8918" y="2543"/>
                </a:lnTo>
                <a:lnTo>
                  <a:pt x="8958" y="2580"/>
                </a:lnTo>
                <a:lnTo>
                  <a:pt x="8967" y="2676"/>
                </a:lnTo>
                <a:lnTo>
                  <a:pt x="8928" y="2803"/>
                </a:lnTo>
                <a:lnTo>
                  <a:pt x="8901" y="2858"/>
                </a:lnTo>
                <a:lnTo>
                  <a:pt x="8992" y="2867"/>
                </a:lnTo>
                <a:lnTo>
                  <a:pt x="9062" y="2868"/>
                </a:lnTo>
                <a:lnTo>
                  <a:pt x="9176" y="2814"/>
                </a:lnTo>
                <a:lnTo>
                  <a:pt x="9256" y="2803"/>
                </a:lnTo>
                <a:lnTo>
                  <a:pt x="9390" y="2717"/>
                </a:lnTo>
                <a:lnTo>
                  <a:pt x="9295" y="2675"/>
                </a:lnTo>
                <a:lnTo>
                  <a:pt x="9278" y="2592"/>
                </a:lnTo>
                <a:lnTo>
                  <a:pt x="9248" y="2495"/>
                </a:lnTo>
                <a:lnTo>
                  <a:pt x="9239" y="2456"/>
                </a:lnTo>
                <a:lnTo>
                  <a:pt x="9074" y="2458"/>
                </a:lnTo>
                <a:lnTo>
                  <a:pt x="9008" y="2431"/>
                </a:lnTo>
                <a:close/>
                <a:moveTo>
                  <a:pt x="8468" y="2488"/>
                </a:moveTo>
                <a:lnTo>
                  <a:pt x="8433" y="2527"/>
                </a:lnTo>
                <a:lnTo>
                  <a:pt x="8332" y="2552"/>
                </a:lnTo>
                <a:lnTo>
                  <a:pt x="8252" y="2537"/>
                </a:lnTo>
                <a:lnTo>
                  <a:pt x="8188" y="2592"/>
                </a:lnTo>
                <a:lnTo>
                  <a:pt x="8061" y="2715"/>
                </a:lnTo>
                <a:lnTo>
                  <a:pt x="8012" y="2811"/>
                </a:lnTo>
                <a:lnTo>
                  <a:pt x="7967" y="2860"/>
                </a:lnTo>
                <a:lnTo>
                  <a:pt x="7855" y="2915"/>
                </a:lnTo>
                <a:lnTo>
                  <a:pt x="7755" y="2983"/>
                </a:lnTo>
                <a:lnTo>
                  <a:pt x="7790" y="3016"/>
                </a:lnTo>
                <a:lnTo>
                  <a:pt x="7868" y="3011"/>
                </a:lnTo>
                <a:lnTo>
                  <a:pt x="7813" y="3084"/>
                </a:lnTo>
                <a:lnTo>
                  <a:pt x="7868" y="3111"/>
                </a:lnTo>
                <a:lnTo>
                  <a:pt x="8006" y="3064"/>
                </a:lnTo>
                <a:lnTo>
                  <a:pt x="8140" y="3028"/>
                </a:lnTo>
                <a:lnTo>
                  <a:pt x="8245" y="3062"/>
                </a:lnTo>
                <a:lnTo>
                  <a:pt x="8399" y="3102"/>
                </a:lnTo>
                <a:lnTo>
                  <a:pt x="8493" y="3094"/>
                </a:lnTo>
                <a:lnTo>
                  <a:pt x="8551" y="3072"/>
                </a:lnTo>
                <a:lnTo>
                  <a:pt x="8567" y="3035"/>
                </a:lnTo>
                <a:lnTo>
                  <a:pt x="8409" y="2984"/>
                </a:lnTo>
                <a:lnTo>
                  <a:pt x="8377" y="2937"/>
                </a:lnTo>
                <a:lnTo>
                  <a:pt x="8533" y="2981"/>
                </a:lnTo>
                <a:lnTo>
                  <a:pt x="8610" y="2978"/>
                </a:lnTo>
                <a:lnTo>
                  <a:pt x="8595" y="2904"/>
                </a:lnTo>
                <a:lnTo>
                  <a:pt x="8714" y="2900"/>
                </a:lnTo>
                <a:lnTo>
                  <a:pt x="8774" y="2811"/>
                </a:lnTo>
                <a:lnTo>
                  <a:pt x="8804" y="2865"/>
                </a:lnTo>
                <a:lnTo>
                  <a:pt x="8870" y="2853"/>
                </a:lnTo>
                <a:lnTo>
                  <a:pt x="8923" y="2729"/>
                </a:lnTo>
                <a:lnTo>
                  <a:pt x="8915" y="2675"/>
                </a:lnTo>
                <a:lnTo>
                  <a:pt x="8880" y="2586"/>
                </a:lnTo>
                <a:lnTo>
                  <a:pt x="8767" y="2612"/>
                </a:lnTo>
                <a:lnTo>
                  <a:pt x="8694" y="2658"/>
                </a:lnTo>
                <a:lnTo>
                  <a:pt x="8767" y="2557"/>
                </a:lnTo>
                <a:lnTo>
                  <a:pt x="8704" y="2542"/>
                </a:lnTo>
                <a:lnTo>
                  <a:pt x="8630" y="2582"/>
                </a:lnTo>
                <a:lnTo>
                  <a:pt x="8533" y="2656"/>
                </a:lnTo>
                <a:lnTo>
                  <a:pt x="8413" y="2702"/>
                </a:lnTo>
                <a:lnTo>
                  <a:pt x="8456" y="2644"/>
                </a:lnTo>
                <a:lnTo>
                  <a:pt x="8531" y="2602"/>
                </a:lnTo>
                <a:lnTo>
                  <a:pt x="8592" y="2540"/>
                </a:lnTo>
                <a:lnTo>
                  <a:pt x="8615" y="2511"/>
                </a:lnTo>
                <a:lnTo>
                  <a:pt x="8468" y="2488"/>
                </a:lnTo>
                <a:close/>
                <a:moveTo>
                  <a:pt x="9465" y="2944"/>
                </a:moveTo>
                <a:lnTo>
                  <a:pt x="9392" y="2947"/>
                </a:lnTo>
                <a:lnTo>
                  <a:pt x="9347" y="2995"/>
                </a:lnTo>
                <a:lnTo>
                  <a:pt x="9321" y="3075"/>
                </a:lnTo>
                <a:lnTo>
                  <a:pt x="9293" y="3099"/>
                </a:lnTo>
                <a:lnTo>
                  <a:pt x="9303" y="3149"/>
                </a:lnTo>
                <a:lnTo>
                  <a:pt x="9383" y="3225"/>
                </a:lnTo>
                <a:lnTo>
                  <a:pt x="9412" y="3185"/>
                </a:lnTo>
                <a:lnTo>
                  <a:pt x="9464" y="3156"/>
                </a:lnTo>
                <a:lnTo>
                  <a:pt x="9472" y="3052"/>
                </a:lnTo>
                <a:lnTo>
                  <a:pt x="9465" y="2944"/>
                </a:lnTo>
                <a:close/>
                <a:moveTo>
                  <a:pt x="9178" y="2961"/>
                </a:moveTo>
                <a:lnTo>
                  <a:pt x="9104" y="2978"/>
                </a:lnTo>
                <a:lnTo>
                  <a:pt x="8948" y="3101"/>
                </a:lnTo>
                <a:lnTo>
                  <a:pt x="8973" y="3008"/>
                </a:lnTo>
                <a:lnTo>
                  <a:pt x="8931" y="2984"/>
                </a:lnTo>
                <a:lnTo>
                  <a:pt x="8876" y="3027"/>
                </a:lnTo>
                <a:lnTo>
                  <a:pt x="8834" y="3131"/>
                </a:lnTo>
                <a:lnTo>
                  <a:pt x="8739" y="3239"/>
                </a:lnTo>
                <a:lnTo>
                  <a:pt x="8781" y="3293"/>
                </a:lnTo>
                <a:lnTo>
                  <a:pt x="8853" y="3323"/>
                </a:lnTo>
                <a:lnTo>
                  <a:pt x="8890" y="3298"/>
                </a:lnTo>
                <a:lnTo>
                  <a:pt x="8896" y="3261"/>
                </a:lnTo>
                <a:lnTo>
                  <a:pt x="8955" y="3279"/>
                </a:lnTo>
                <a:lnTo>
                  <a:pt x="9027" y="3309"/>
                </a:lnTo>
                <a:lnTo>
                  <a:pt x="9074" y="3294"/>
                </a:lnTo>
                <a:lnTo>
                  <a:pt x="9057" y="3240"/>
                </a:lnTo>
                <a:lnTo>
                  <a:pt x="8891" y="3198"/>
                </a:lnTo>
                <a:lnTo>
                  <a:pt x="8960" y="3158"/>
                </a:lnTo>
                <a:lnTo>
                  <a:pt x="9092" y="3165"/>
                </a:lnTo>
                <a:lnTo>
                  <a:pt x="9228" y="3131"/>
                </a:lnTo>
                <a:lnTo>
                  <a:pt x="9229" y="3084"/>
                </a:lnTo>
                <a:lnTo>
                  <a:pt x="9178" y="2961"/>
                </a:lnTo>
                <a:close/>
                <a:moveTo>
                  <a:pt x="8558" y="3107"/>
                </a:moveTo>
                <a:lnTo>
                  <a:pt x="8409" y="3109"/>
                </a:lnTo>
                <a:lnTo>
                  <a:pt x="8464" y="3183"/>
                </a:lnTo>
                <a:lnTo>
                  <a:pt x="8521" y="3173"/>
                </a:lnTo>
                <a:lnTo>
                  <a:pt x="8565" y="3128"/>
                </a:lnTo>
                <a:lnTo>
                  <a:pt x="8558" y="3107"/>
                </a:lnTo>
                <a:close/>
                <a:moveTo>
                  <a:pt x="7735" y="3131"/>
                </a:moveTo>
                <a:lnTo>
                  <a:pt x="7619" y="3170"/>
                </a:lnTo>
                <a:lnTo>
                  <a:pt x="7602" y="3212"/>
                </a:lnTo>
                <a:lnTo>
                  <a:pt x="7509" y="3261"/>
                </a:lnTo>
                <a:lnTo>
                  <a:pt x="7537" y="3304"/>
                </a:lnTo>
                <a:lnTo>
                  <a:pt x="7614" y="3291"/>
                </a:lnTo>
                <a:lnTo>
                  <a:pt x="7653" y="3286"/>
                </a:lnTo>
                <a:lnTo>
                  <a:pt x="7701" y="3267"/>
                </a:lnTo>
                <a:lnTo>
                  <a:pt x="7781" y="3234"/>
                </a:lnTo>
                <a:lnTo>
                  <a:pt x="7745" y="3183"/>
                </a:lnTo>
                <a:lnTo>
                  <a:pt x="7735" y="3131"/>
                </a:lnTo>
                <a:close/>
                <a:moveTo>
                  <a:pt x="8270" y="3193"/>
                </a:moveTo>
                <a:lnTo>
                  <a:pt x="8073" y="3242"/>
                </a:lnTo>
                <a:lnTo>
                  <a:pt x="7994" y="3249"/>
                </a:lnTo>
                <a:lnTo>
                  <a:pt x="7949" y="3282"/>
                </a:lnTo>
                <a:lnTo>
                  <a:pt x="7950" y="3368"/>
                </a:lnTo>
                <a:lnTo>
                  <a:pt x="8078" y="3419"/>
                </a:lnTo>
                <a:lnTo>
                  <a:pt x="8188" y="3383"/>
                </a:lnTo>
                <a:lnTo>
                  <a:pt x="8230" y="3442"/>
                </a:lnTo>
                <a:lnTo>
                  <a:pt x="8282" y="3449"/>
                </a:lnTo>
                <a:lnTo>
                  <a:pt x="8317" y="3378"/>
                </a:lnTo>
                <a:lnTo>
                  <a:pt x="8384" y="3350"/>
                </a:lnTo>
                <a:lnTo>
                  <a:pt x="8356" y="3279"/>
                </a:lnTo>
                <a:lnTo>
                  <a:pt x="8225" y="3279"/>
                </a:lnTo>
                <a:lnTo>
                  <a:pt x="8314" y="3213"/>
                </a:lnTo>
                <a:lnTo>
                  <a:pt x="8270" y="3193"/>
                </a:lnTo>
                <a:close/>
                <a:moveTo>
                  <a:pt x="9310" y="3289"/>
                </a:moveTo>
                <a:lnTo>
                  <a:pt x="9226" y="3291"/>
                </a:lnTo>
                <a:lnTo>
                  <a:pt x="9204" y="3358"/>
                </a:lnTo>
                <a:lnTo>
                  <a:pt x="9233" y="3392"/>
                </a:lnTo>
                <a:lnTo>
                  <a:pt x="9291" y="3375"/>
                </a:lnTo>
                <a:lnTo>
                  <a:pt x="9321" y="3335"/>
                </a:lnTo>
                <a:lnTo>
                  <a:pt x="9310" y="3289"/>
                </a:lnTo>
                <a:close/>
                <a:moveTo>
                  <a:pt x="9358" y="3372"/>
                </a:moveTo>
                <a:lnTo>
                  <a:pt x="9311" y="3405"/>
                </a:lnTo>
                <a:lnTo>
                  <a:pt x="9303" y="3449"/>
                </a:lnTo>
                <a:lnTo>
                  <a:pt x="9363" y="3441"/>
                </a:lnTo>
                <a:lnTo>
                  <a:pt x="9383" y="3434"/>
                </a:lnTo>
                <a:lnTo>
                  <a:pt x="9375" y="3385"/>
                </a:lnTo>
                <a:lnTo>
                  <a:pt x="9358" y="3372"/>
                </a:lnTo>
                <a:close/>
                <a:moveTo>
                  <a:pt x="8694" y="3390"/>
                </a:moveTo>
                <a:lnTo>
                  <a:pt x="8657" y="3446"/>
                </a:lnTo>
                <a:lnTo>
                  <a:pt x="8575" y="3407"/>
                </a:lnTo>
                <a:lnTo>
                  <a:pt x="8520" y="3431"/>
                </a:lnTo>
                <a:lnTo>
                  <a:pt x="8488" y="3491"/>
                </a:lnTo>
                <a:lnTo>
                  <a:pt x="8585" y="3548"/>
                </a:lnTo>
                <a:lnTo>
                  <a:pt x="8664" y="3577"/>
                </a:lnTo>
                <a:lnTo>
                  <a:pt x="8751" y="3584"/>
                </a:lnTo>
                <a:lnTo>
                  <a:pt x="8734" y="3574"/>
                </a:lnTo>
                <a:lnTo>
                  <a:pt x="8779" y="3537"/>
                </a:lnTo>
                <a:lnTo>
                  <a:pt x="8769" y="3471"/>
                </a:lnTo>
                <a:lnTo>
                  <a:pt x="8804" y="3442"/>
                </a:lnTo>
                <a:lnTo>
                  <a:pt x="8694" y="3390"/>
                </a:lnTo>
                <a:close/>
                <a:moveTo>
                  <a:pt x="16992" y="3424"/>
                </a:moveTo>
                <a:lnTo>
                  <a:pt x="16821" y="3486"/>
                </a:lnTo>
                <a:lnTo>
                  <a:pt x="16712" y="3506"/>
                </a:lnTo>
                <a:lnTo>
                  <a:pt x="16580" y="3493"/>
                </a:lnTo>
                <a:lnTo>
                  <a:pt x="16468" y="3511"/>
                </a:lnTo>
                <a:lnTo>
                  <a:pt x="16391" y="3526"/>
                </a:lnTo>
                <a:lnTo>
                  <a:pt x="16431" y="3564"/>
                </a:lnTo>
                <a:lnTo>
                  <a:pt x="16474" y="3537"/>
                </a:lnTo>
                <a:lnTo>
                  <a:pt x="16582" y="3617"/>
                </a:lnTo>
                <a:lnTo>
                  <a:pt x="16769" y="3646"/>
                </a:lnTo>
                <a:lnTo>
                  <a:pt x="16871" y="3611"/>
                </a:lnTo>
                <a:lnTo>
                  <a:pt x="17047" y="3639"/>
                </a:lnTo>
                <a:lnTo>
                  <a:pt x="17156" y="3676"/>
                </a:lnTo>
                <a:lnTo>
                  <a:pt x="17286" y="3691"/>
                </a:lnTo>
                <a:lnTo>
                  <a:pt x="17413" y="3725"/>
                </a:lnTo>
                <a:lnTo>
                  <a:pt x="17506" y="3730"/>
                </a:lnTo>
                <a:lnTo>
                  <a:pt x="17375" y="3648"/>
                </a:lnTo>
                <a:lnTo>
                  <a:pt x="17405" y="3590"/>
                </a:lnTo>
                <a:lnTo>
                  <a:pt x="17318" y="3570"/>
                </a:lnTo>
                <a:lnTo>
                  <a:pt x="17246" y="3638"/>
                </a:lnTo>
                <a:lnTo>
                  <a:pt x="17032" y="3552"/>
                </a:lnTo>
                <a:lnTo>
                  <a:pt x="16992" y="3424"/>
                </a:lnTo>
                <a:close/>
                <a:moveTo>
                  <a:pt x="7969" y="3439"/>
                </a:moveTo>
                <a:lnTo>
                  <a:pt x="7927" y="3483"/>
                </a:lnTo>
                <a:lnTo>
                  <a:pt x="8011" y="3558"/>
                </a:lnTo>
                <a:lnTo>
                  <a:pt x="8009" y="3614"/>
                </a:lnTo>
                <a:lnTo>
                  <a:pt x="8113" y="3707"/>
                </a:lnTo>
                <a:lnTo>
                  <a:pt x="8198" y="3644"/>
                </a:lnTo>
                <a:lnTo>
                  <a:pt x="8257" y="3570"/>
                </a:lnTo>
                <a:lnTo>
                  <a:pt x="8243" y="3521"/>
                </a:lnTo>
                <a:lnTo>
                  <a:pt x="8193" y="3481"/>
                </a:lnTo>
                <a:lnTo>
                  <a:pt x="8120" y="3456"/>
                </a:lnTo>
                <a:lnTo>
                  <a:pt x="7969" y="3439"/>
                </a:lnTo>
                <a:close/>
                <a:moveTo>
                  <a:pt x="17501" y="3461"/>
                </a:moveTo>
                <a:lnTo>
                  <a:pt x="17594" y="3540"/>
                </a:lnTo>
                <a:lnTo>
                  <a:pt x="17613" y="3604"/>
                </a:lnTo>
                <a:lnTo>
                  <a:pt x="17619" y="3670"/>
                </a:lnTo>
                <a:lnTo>
                  <a:pt x="17562" y="3755"/>
                </a:lnTo>
                <a:lnTo>
                  <a:pt x="17673" y="3808"/>
                </a:lnTo>
                <a:lnTo>
                  <a:pt x="17852" y="3882"/>
                </a:lnTo>
                <a:lnTo>
                  <a:pt x="17917" y="3994"/>
                </a:lnTo>
                <a:lnTo>
                  <a:pt x="18033" y="4074"/>
                </a:lnTo>
                <a:lnTo>
                  <a:pt x="18140" y="4099"/>
                </a:lnTo>
                <a:lnTo>
                  <a:pt x="18076" y="3981"/>
                </a:lnTo>
                <a:lnTo>
                  <a:pt x="17921" y="3883"/>
                </a:lnTo>
                <a:lnTo>
                  <a:pt x="17906" y="3745"/>
                </a:lnTo>
                <a:lnTo>
                  <a:pt x="17740" y="3624"/>
                </a:lnTo>
                <a:lnTo>
                  <a:pt x="17614" y="3469"/>
                </a:lnTo>
                <a:lnTo>
                  <a:pt x="17501" y="3461"/>
                </a:lnTo>
                <a:close/>
                <a:moveTo>
                  <a:pt x="9156" y="3528"/>
                </a:moveTo>
                <a:lnTo>
                  <a:pt x="9095" y="3579"/>
                </a:lnTo>
                <a:lnTo>
                  <a:pt x="9010" y="3594"/>
                </a:lnTo>
                <a:lnTo>
                  <a:pt x="8955" y="3629"/>
                </a:lnTo>
                <a:lnTo>
                  <a:pt x="9025" y="3648"/>
                </a:lnTo>
                <a:lnTo>
                  <a:pt x="9112" y="3663"/>
                </a:lnTo>
                <a:lnTo>
                  <a:pt x="9224" y="3627"/>
                </a:lnTo>
                <a:lnTo>
                  <a:pt x="9290" y="3596"/>
                </a:lnTo>
                <a:lnTo>
                  <a:pt x="9236" y="3567"/>
                </a:lnTo>
                <a:lnTo>
                  <a:pt x="9174" y="3574"/>
                </a:lnTo>
                <a:lnTo>
                  <a:pt x="9156" y="3528"/>
                </a:lnTo>
                <a:close/>
                <a:moveTo>
                  <a:pt x="8439" y="3530"/>
                </a:moveTo>
                <a:lnTo>
                  <a:pt x="8367" y="3558"/>
                </a:lnTo>
                <a:lnTo>
                  <a:pt x="8319" y="3604"/>
                </a:lnTo>
                <a:lnTo>
                  <a:pt x="8366" y="3643"/>
                </a:lnTo>
                <a:lnTo>
                  <a:pt x="8423" y="3644"/>
                </a:lnTo>
                <a:lnTo>
                  <a:pt x="8498" y="3634"/>
                </a:lnTo>
                <a:lnTo>
                  <a:pt x="8495" y="3574"/>
                </a:lnTo>
                <a:lnTo>
                  <a:pt x="8439" y="3530"/>
                </a:lnTo>
                <a:close/>
                <a:moveTo>
                  <a:pt x="13056" y="3542"/>
                </a:moveTo>
                <a:lnTo>
                  <a:pt x="13081" y="3639"/>
                </a:lnTo>
                <a:lnTo>
                  <a:pt x="13101" y="3708"/>
                </a:lnTo>
                <a:lnTo>
                  <a:pt x="13158" y="3703"/>
                </a:lnTo>
                <a:lnTo>
                  <a:pt x="13175" y="3619"/>
                </a:lnTo>
                <a:lnTo>
                  <a:pt x="13147" y="3560"/>
                </a:lnTo>
                <a:lnTo>
                  <a:pt x="13056" y="3542"/>
                </a:lnTo>
                <a:close/>
                <a:moveTo>
                  <a:pt x="8722" y="3626"/>
                </a:moveTo>
                <a:lnTo>
                  <a:pt x="8647" y="3643"/>
                </a:lnTo>
                <a:lnTo>
                  <a:pt x="8580" y="3700"/>
                </a:lnTo>
                <a:lnTo>
                  <a:pt x="8490" y="3710"/>
                </a:lnTo>
                <a:lnTo>
                  <a:pt x="8407" y="3690"/>
                </a:lnTo>
                <a:lnTo>
                  <a:pt x="8314" y="3676"/>
                </a:lnTo>
                <a:lnTo>
                  <a:pt x="8200" y="3759"/>
                </a:lnTo>
                <a:lnTo>
                  <a:pt x="8145" y="3814"/>
                </a:lnTo>
                <a:lnTo>
                  <a:pt x="8106" y="3893"/>
                </a:lnTo>
                <a:lnTo>
                  <a:pt x="8078" y="4006"/>
                </a:lnTo>
                <a:lnTo>
                  <a:pt x="8036" y="4053"/>
                </a:lnTo>
                <a:lnTo>
                  <a:pt x="8049" y="4116"/>
                </a:lnTo>
                <a:lnTo>
                  <a:pt x="8086" y="4144"/>
                </a:lnTo>
                <a:lnTo>
                  <a:pt x="8161" y="4143"/>
                </a:lnTo>
                <a:lnTo>
                  <a:pt x="8242" y="4111"/>
                </a:lnTo>
                <a:lnTo>
                  <a:pt x="8279" y="4053"/>
                </a:lnTo>
                <a:lnTo>
                  <a:pt x="8297" y="3979"/>
                </a:lnTo>
                <a:lnTo>
                  <a:pt x="8289" y="3915"/>
                </a:lnTo>
                <a:lnTo>
                  <a:pt x="8330" y="3867"/>
                </a:lnTo>
                <a:lnTo>
                  <a:pt x="8366" y="3823"/>
                </a:lnTo>
                <a:lnTo>
                  <a:pt x="8418" y="3809"/>
                </a:lnTo>
                <a:lnTo>
                  <a:pt x="8478" y="3781"/>
                </a:lnTo>
                <a:lnTo>
                  <a:pt x="8533" y="3806"/>
                </a:lnTo>
                <a:lnTo>
                  <a:pt x="8603" y="3792"/>
                </a:lnTo>
                <a:lnTo>
                  <a:pt x="8645" y="3734"/>
                </a:lnTo>
                <a:lnTo>
                  <a:pt x="8719" y="3717"/>
                </a:lnTo>
                <a:lnTo>
                  <a:pt x="8776" y="3661"/>
                </a:lnTo>
                <a:lnTo>
                  <a:pt x="8722" y="3626"/>
                </a:lnTo>
                <a:close/>
                <a:moveTo>
                  <a:pt x="6400" y="3629"/>
                </a:moveTo>
                <a:lnTo>
                  <a:pt x="6369" y="3715"/>
                </a:lnTo>
                <a:lnTo>
                  <a:pt x="6268" y="3735"/>
                </a:lnTo>
                <a:lnTo>
                  <a:pt x="6303" y="3828"/>
                </a:lnTo>
                <a:lnTo>
                  <a:pt x="6359" y="3892"/>
                </a:lnTo>
                <a:lnTo>
                  <a:pt x="6271" y="3927"/>
                </a:lnTo>
                <a:lnTo>
                  <a:pt x="6191" y="4030"/>
                </a:lnTo>
                <a:lnTo>
                  <a:pt x="6220" y="4085"/>
                </a:lnTo>
                <a:lnTo>
                  <a:pt x="6290" y="4038"/>
                </a:lnTo>
                <a:lnTo>
                  <a:pt x="6297" y="3991"/>
                </a:lnTo>
                <a:lnTo>
                  <a:pt x="6375" y="3984"/>
                </a:lnTo>
                <a:lnTo>
                  <a:pt x="6456" y="3912"/>
                </a:lnTo>
                <a:lnTo>
                  <a:pt x="6539" y="3846"/>
                </a:lnTo>
                <a:lnTo>
                  <a:pt x="6598" y="3813"/>
                </a:lnTo>
                <a:lnTo>
                  <a:pt x="6588" y="3781"/>
                </a:lnTo>
                <a:lnTo>
                  <a:pt x="6663" y="3774"/>
                </a:lnTo>
                <a:lnTo>
                  <a:pt x="6697" y="3732"/>
                </a:lnTo>
                <a:lnTo>
                  <a:pt x="6564" y="3703"/>
                </a:lnTo>
                <a:lnTo>
                  <a:pt x="6447" y="3688"/>
                </a:lnTo>
                <a:lnTo>
                  <a:pt x="6400" y="3629"/>
                </a:lnTo>
                <a:close/>
                <a:moveTo>
                  <a:pt x="7678" y="3639"/>
                </a:moveTo>
                <a:lnTo>
                  <a:pt x="7639" y="3703"/>
                </a:lnTo>
                <a:lnTo>
                  <a:pt x="7594" y="3643"/>
                </a:lnTo>
                <a:lnTo>
                  <a:pt x="7517" y="3671"/>
                </a:lnTo>
                <a:lnTo>
                  <a:pt x="7448" y="3744"/>
                </a:lnTo>
                <a:lnTo>
                  <a:pt x="7350" y="3840"/>
                </a:lnTo>
                <a:lnTo>
                  <a:pt x="7231" y="4020"/>
                </a:lnTo>
                <a:lnTo>
                  <a:pt x="7217" y="4112"/>
                </a:lnTo>
                <a:lnTo>
                  <a:pt x="7257" y="4139"/>
                </a:lnTo>
                <a:lnTo>
                  <a:pt x="7187" y="4180"/>
                </a:lnTo>
                <a:lnTo>
                  <a:pt x="7162" y="4225"/>
                </a:lnTo>
                <a:lnTo>
                  <a:pt x="7040" y="4282"/>
                </a:lnTo>
                <a:lnTo>
                  <a:pt x="7008" y="4250"/>
                </a:lnTo>
                <a:lnTo>
                  <a:pt x="6919" y="4363"/>
                </a:lnTo>
                <a:lnTo>
                  <a:pt x="6816" y="4454"/>
                </a:lnTo>
                <a:lnTo>
                  <a:pt x="6752" y="4481"/>
                </a:lnTo>
                <a:lnTo>
                  <a:pt x="6673" y="4504"/>
                </a:lnTo>
                <a:lnTo>
                  <a:pt x="6526" y="4444"/>
                </a:lnTo>
                <a:lnTo>
                  <a:pt x="6447" y="4432"/>
                </a:lnTo>
                <a:lnTo>
                  <a:pt x="6384" y="4459"/>
                </a:lnTo>
                <a:lnTo>
                  <a:pt x="6395" y="4331"/>
                </a:lnTo>
                <a:lnTo>
                  <a:pt x="6427" y="4213"/>
                </a:lnTo>
                <a:lnTo>
                  <a:pt x="6322" y="4180"/>
                </a:lnTo>
                <a:lnTo>
                  <a:pt x="6248" y="4237"/>
                </a:lnTo>
                <a:lnTo>
                  <a:pt x="6220" y="4422"/>
                </a:lnTo>
                <a:lnTo>
                  <a:pt x="6268" y="4417"/>
                </a:lnTo>
                <a:lnTo>
                  <a:pt x="6164" y="4521"/>
                </a:lnTo>
                <a:lnTo>
                  <a:pt x="6059" y="4634"/>
                </a:lnTo>
                <a:lnTo>
                  <a:pt x="6017" y="4617"/>
                </a:lnTo>
                <a:lnTo>
                  <a:pt x="5922" y="4715"/>
                </a:lnTo>
                <a:lnTo>
                  <a:pt x="5803" y="4885"/>
                </a:lnTo>
                <a:lnTo>
                  <a:pt x="5719" y="5095"/>
                </a:lnTo>
                <a:lnTo>
                  <a:pt x="5778" y="5068"/>
                </a:lnTo>
                <a:lnTo>
                  <a:pt x="5883" y="4971"/>
                </a:lnTo>
                <a:lnTo>
                  <a:pt x="6037" y="4841"/>
                </a:lnTo>
                <a:lnTo>
                  <a:pt x="5886" y="5045"/>
                </a:lnTo>
                <a:lnTo>
                  <a:pt x="5838" y="5146"/>
                </a:lnTo>
                <a:lnTo>
                  <a:pt x="5957" y="5137"/>
                </a:lnTo>
                <a:lnTo>
                  <a:pt x="6124" y="5052"/>
                </a:lnTo>
                <a:lnTo>
                  <a:pt x="6169" y="5013"/>
                </a:lnTo>
                <a:lnTo>
                  <a:pt x="6255" y="4907"/>
                </a:lnTo>
                <a:lnTo>
                  <a:pt x="6360" y="4819"/>
                </a:lnTo>
                <a:lnTo>
                  <a:pt x="6456" y="4809"/>
                </a:lnTo>
                <a:lnTo>
                  <a:pt x="6471" y="4885"/>
                </a:lnTo>
                <a:lnTo>
                  <a:pt x="6300" y="5020"/>
                </a:lnTo>
                <a:lnTo>
                  <a:pt x="6225" y="5117"/>
                </a:lnTo>
                <a:lnTo>
                  <a:pt x="6422" y="5178"/>
                </a:lnTo>
                <a:lnTo>
                  <a:pt x="6543" y="5164"/>
                </a:lnTo>
                <a:lnTo>
                  <a:pt x="6554" y="5067"/>
                </a:lnTo>
                <a:lnTo>
                  <a:pt x="6715" y="4946"/>
                </a:lnTo>
                <a:lnTo>
                  <a:pt x="6759" y="4846"/>
                </a:lnTo>
                <a:lnTo>
                  <a:pt x="6884" y="4695"/>
                </a:lnTo>
                <a:lnTo>
                  <a:pt x="6954" y="4784"/>
                </a:lnTo>
                <a:lnTo>
                  <a:pt x="7124" y="4708"/>
                </a:lnTo>
                <a:lnTo>
                  <a:pt x="7199" y="4654"/>
                </a:lnTo>
                <a:lnTo>
                  <a:pt x="7286" y="4525"/>
                </a:lnTo>
                <a:lnTo>
                  <a:pt x="7408" y="4466"/>
                </a:lnTo>
                <a:lnTo>
                  <a:pt x="7388" y="4378"/>
                </a:lnTo>
                <a:lnTo>
                  <a:pt x="7465" y="4370"/>
                </a:lnTo>
                <a:lnTo>
                  <a:pt x="7565" y="4304"/>
                </a:lnTo>
                <a:lnTo>
                  <a:pt x="7683" y="4205"/>
                </a:lnTo>
                <a:lnTo>
                  <a:pt x="7627" y="4159"/>
                </a:lnTo>
                <a:lnTo>
                  <a:pt x="7611" y="4069"/>
                </a:lnTo>
                <a:lnTo>
                  <a:pt x="7719" y="4082"/>
                </a:lnTo>
                <a:lnTo>
                  <a:pt x="7925" y="4026"/>
                </a:lnTo>
                <a:lnTo>
                  <a:pt x="7904" y="3914"/>
                </a:lnTo>
                <a:lnTo>
                  <a:pt x="7788" y="3856"/>
                </a:lnTo>
                <a:lnTo>
                  <a:pt x="7909" y="3840"/>
                </a:lnTo>
                <a:lnTo>
                  <a:pt x="7999" y="3887"/>
                </a:lnTo>
                <a:lnTo>
                  <a:pt x="8011" y="3776"/>
                </a:lnTo>
                <a:lnTo>
                  <a:pt x="7971" y="3722"/>
                </a:lnTo>
                <a:lnTo>
                  <a:pt x="7847" y="3659"/>
                </a:lnTo>
                <a:lnTo>
                  <a:pt x="7678" y="3639"/>
                </a:lnTo>
                <a:close/>
                <a:moveTo>
                  <a:pt x="8947" y="3680"/>
                </a:moveTo>
                <a:lnTo>
                  <a:pt x="8893" y="3686"/>
                </a:lnTo>
                <a:lnTo>
                  <a:pt x="8893" y="3739"/>
                </a:lnTo>
                <a:lnTo>
                  <a:pt x="8943" y="3769"/>
                </a:lnTo>
                <a:lnTo>
                  <a:pt x="9020" y="3759"/>
                </a:lnTo>
                <a:lnTo>
                  <a:pt x="9042" y="3749"/>
                </a:lnTo>
                <a:lnTo>
                  <a:pt x="9075" y="3720"/>
                </a:lnTo>
                <a:lnTo>
                  <a:pt x="9012" y="3693"/>
                </a:lnTo>
                <a:lnTo>
                  <a:pt x="8947" y="3680"/>
                </a:lnTo>
                <a:close/>
                <a:moveTo>
                  <a:pt x="8823" y="3700"/>
                </a:moveTo>
                <a:lnTo>
                  <a:pt x="8772" y="3750"/>
                </a:lnTo>
                <a:lnTo>
                  <a:pt x="8767" y="3764"/>
                </a:lnTo>
                <a:lnTo>
                  <a:pt x="8782" y="3774"/>
                </a:lnTo>
                <a:lnTo>
                  <a:pt x="8826" y="3764"/>
                </a:lnTo>
                <a:lnTo>
                  <a:pt x="8871" y="3710"/>
                </a:lnTo>
                <a:lnTo>
                  <a:pt x="8823" y="3700"/>
                </a:lnTo>
                <a:close/>
                <a:moveTo>
                  <a:pt x="13530" y="3718"/>
                </a:moveTo>
                <a:lnTo>
                  <a:pt x="13491" y="3732"/>
                </a:lnTo>
                <a:lnTo>
                  <a:pt x="13461" y="3801"/>
                </a:lnTo>
                <a:lnTo>
                  <a:pt x="13503" y="3846"/>
                </a:lnTo>
                <a:lnTo>
                  <a:pt x="13588" y="3873"/>
                </a:lnTo>
                <a:lnTo>
                  <a:pt x="13593" y="3865"/>
                </a:lnTo>
                <a:lnTo>
                  <a:pt x="13567" y="3779"/>
                </a:lnTo>
                <a:lnTo>
                  <a:pt x="13530" y="3718"/>
                </a:lnTo>
                <a:close/>
                <a:moveTo>
                  <a:pt x="13255" y="3752"/>
                </a:moveTo>
                <a:lnTo>
                  <a:pt x="13120" y="3755"/>
                </a:lnTo>
                <a:lnTo>
                  <a:pt x="13106" y="3899"/>
                </a:lnTo>
                <a:lnTo>
                  <a:pt x="13147" y="3989"/>
                </a:lnTo>
                <a:lnTo>
                  <a:pt x="13200" y="4030"/>
                </a:lnTo>
                <a:lnTo>
                  <a:pt x="13326" y="4033"/>
                </a:lnTo>
                <a:lnTo>
                  <a:pt x="13401" y="3942"/>
                </a:lnTo>
                <a:lnTo>
                  <a:pt x="13329" y="3887"/>
                </a:lnTo>
                <a:lnTo>
                  <a:pt x="13255" y="3752"/>
                </a:lnTo>
                <a:close/>
                <a:moveTo>
                  <a:pt x="8963" y="3829"/>
                </a:moveTo>
                <a:lnTo>
                  <a:pt x="8878" y="3835"/>
                </a:lnTo>
                <a:lnTo>
                  <a:pt x="8819" y="3885"/>
                </a:lnTo>
                <a:lnTo>
                  <a:pt x="8801" y="3939"/>
                </a:lnTo>
                <a:lnTo>
                  <a:pt x="8896" y="4021"/>
                </a:lnTo>
                <a:lnTo>
                  <a:pt x="8928" y="4070"/>
                </a:lnTo>
                <a:lnTo>
                  <a:pt x="8998" y="4052"/>
                </a:lnTo>
                <a:lnTo>
                  <a:pt x="9121" y="4062"/>
                </a:lnTo>
                <a:lnTo>
                  <a:pt x="9174" y="4033"/>
                </a:lnTo>
                <a:lnTo>
                  <a:pt x="9233" y="4006"/>
                </a:lnTo>
                <a:lnTo>
                  <a:pt x="9337" y="4010"/>
                </a:lnTo>
                <a:lnTo>
                  <a:pt x="9363" y="3959"/>
                </a:lnTo>
                <a:lnTo>
                  <a:pt x="9320" y="3954"/>
                </a:lnTo>
                <a:lnTo>
                  <a:pt x="9325" y="3929"/>
                </a:lnTo>
                <a:lnTo>
                  <a:pt x="9290" y="3893"/>
                </a:lnTo>
                <a:lnTo>
                  <a:pt x="9233" y="3850"/>
                </a:lnTo>
                <a:lnTo>
                  <a:pt x="9151" y="3835"/>
                </a:lnTo>
                <a:lnTo>
                  <a:pt x="9079" y="3840"/>
                </a:lnTo>
                <a:lnTo>
                  <a:pt x="9049" y="3885"/>
                </a:lnTo>
                <a:lnTo>
                  <a:pt x="9020" y="3850"/>
                </a:lnTo>
                <a:lnTo>
                  <a:pt x="8963" y="3829"/>
                </a:lnTo>
                <a:close/>
                <a:moveTo>
                  <a:pt x="6128" y="3835"/>
                </a:moveTo>
                <a:lnTo>
                  <a:pt x="6077" y="3850"/>
                </a:lnTo>
                <a:lnTo>
                  <a:pt x="6052" y="3897"/>
                </a:lnTo>
                <a:lnTo>
                  <a:pt x="6106" y="3974"/>
                </a:lnTo>
                <a:lnTo>
                  <a:pt x="6136" y="3974"/>
                </a:lnTo>
                <a:lnTo>
                  <a:pt x="6176" y="3883"/>
                </a:lnTo>
                <a:lnTo>
                  <a:pt x="6128" y="3835"/>
                </a:lnTo>
                <a:close/>
                <a:moveTo>
                  <a:pt x="8511" y="3846"/>
                </a:moveTo>
                <a:lnTo>
                  <a:pt x="8468" y="3907"/>
                </a:lnTo>
                <a:lnTo>
                  <a:pt x="8421" y="3951"/>
                </a:lnTo>
                <a:lnTo>
                  <a:pt x="8399" y="4055"/>
                </a:lnTo>
                <a:lnTo>
                  <a:pt x="8314" y="4139"/>
                </a:lnTo>
                <a:lnTo>
                  <a:pt x="8386" y="4242"/>
                </a:lnTo>
                <a:lnTo>
                  <a:pt x="8429" y="4245"/>
                </a:lnTo>
                <a:lnTo>
                  <a:pt x="8443" y="4186"/>
                </a:lnTo>
                <a:lnTo>
                  <a:pt x="8483" y="4186"/>
                </a:lnTo>
                <a:lnTo>
                  <a:pt x="8520" y="4237"/>
                </a:lnTo>
                <a:lnTo>
                  <a:pt x="8585" y="4259"/>
                </a:lnTo>
                <a:lnTo>
                  <a:pt x="8620" y="4311"/>
                </a:lnTo>
                <a:lnTo>
                  <a:pt x="8674" y="4343"/>
                </a:lnTo>
                <a:lnTo>
                  <a:pt x="8769" y="4326"/>
                </a:lnTo>
                <a:lnTo>
                  <a:pt x="8794" y="4348"/>
                </a:lnTo>
                <a:lnTo>
                  <a:pt x="8828" y="4311"/>
                </a:lnTo>
                <a:lnTo>
                  <a:pt x="8824" y="4397"/>
                </a:lnTo>
                <a:lnTo>
                  <a:pt x="8858" y="4415"/>
                </a:lnTo>
                <a:lnTo>
                  <a:pt x="8878" y="4473"/>
                </a:lnTo>
                <a:lnTo>
                  <a:pt x="9020" y="4518"/>
                </a:lnTo>
                <a:lnTo>
                  <a:pt x="9067" y="4557"/>
                </a:lnTo>
                <a:lnTo>
                  <a:pt x="9174" y="4609"/>
                </a:lnTo>
                <a:lnTo>
                  <a:pt x="9178" y="4560"/>
                </a:lnTo>
                <a:lnTo>
                  <a:pt x="9218" y="4579"/>
                </a:lnTo>
                <a:lnTo>
                  <a:pt x="9251" y="4629"/>
                </a:lnTo>
                <a:lnTo>
                  <a:pt x="9332" y="4675"/>
                </a:lnTo>
                <a:lnTo>
                  <a:pt x="9382" y="4671"/>
                </a:lnTo>
                <a:lnTo>
                  <a:pt x="9432" y="4632"/>
                </a:lnTo>
                <a:lnTo>
                  <a:pt x="9457" y="4590"/>
                </a:lnTo>
                <a:lnTo>
                  <a:pt x="9475" y="4540"/>
                </a:lnTo>
                <a:lnTo>
                  <a:pt x="9494" y="4501"/>
                </a:lnTo>
                <a:lnTo>
                  <a:pt x="9512" y="4462"/>
                </a:lnTo>
                <a:lnTo>
                  <a:pt x="9494" y="4407"/>
                </a:lnTo>
                <a:lnTo>
                  <a:pt x="9516" y="4400"/>
                </a:lnTo>
                <a:lnTo>
                  <a:pt x="9526" y="4345"/>
                </a:lnTo>
                <a:lnTo>
                  <a:pt x="9519" y="4309"/>
                </a:lnTo>
                <a:lnTo>
                  <a:pt x="9501" y="4281"/>
                </a:lnTo>
                <a:lnTo>
                  <a:pt x="9412" y="4245"/>
                </a:lnTo>
                <a:lnTo>
                  <a:pt x="9470" y="4235"/>
                </a:lnTo>
                <a:lnTo>
                  <a:pt x="9491" y="4215"/>
                </a:lnTo>
                <a:lnTo>
                  <a:pt x="9440" y="4171"/>
                </a:lnTo>
                <a:lnTo>
                  <a:pt x="9435" y="4126"/>
                </a:lnTo>
                <a:lnTo>
                  <a:pt x="9442" y="4102"/>
                </a:lnTo>
                <a:lnTo>
                  <a:pt x="9430" y="4063"/>
                </a:lnTo>
                <a:lnTo>
                  <a:pt x="9372" y="4047"/>
                </a:lnTo>
                <a:lnTo>
                  <a:pt x="9308" y="4055"/>
                </a:lnTo>
                <a:lnTo>
                  <a:pt x="9229" y="4052"/>
                </a:lnTo>
                <a:lnTo>
                  <a:pt x="9151" y="4075"/>
                </a:lnTo>
                <a:lnTo>
                  <a:pt x="9119" y="4159"/>
                </a:lnTo>
                <a:lnTo>
                  <a:pt x="9075" y="4210"/>
                </a:lnTo>
                <a:lnTo>
                  <a:pt x="9029" y="4159"/>
                </a:lnTo>
                <a:lnTo>
                  <a:pt x="9057" y="4144"/>
                </a:lnTo>
                <a:lnTo>
                  <a:pt x="9097" y="4079"/>
                </a:lnTo>
                <a:lnTo>
                  <a:pt x="9005" y="4069"/>
                </a:lnTo>
                <a:lnTo>
                  <a:pt x="8920" y="4089"/>
                </a:lnTo>
                <a:lnTo>
                  <a:pt x="8864" y="4069"/>
                </a:lnTo>
                <a:lnTo>
                  <a:pt x="8849" y="4011"/>
                </a:lnTo>
                <a:lnTo>
                  <a:pt x="8798" y="3973"/>
                </a:lnTo>
                <a:lnTo>
                  <a:pt x="8741" y="4011"/>
                </a:lnTo>
                <a:lnTo>
                  <a:pt x="8612" y="4030"/>
                </a:lnTo>
                <a:lnTo>
                  <a:pt x="8726" y="3964"/>
                </a:lnTo>
                <a:lnTo>
                  <a:pt x="8724" y="3944"/>
                </a:lnTo>
                <a:lnTo>
                  <a:pt x="8597" y="3930"/>
                </a:lnTo>
                <a:lnTo>
                  <a:pt x="8592" y="3863"/>
                </a:lnTo>
                <a:lnTo>
                  <a:pt x="8511" y="3846"/>
                </a:lnTo>
                <a:close/>
                <a:moveTo>
                  <a:pt x="18204" y="3954"/>
                </a:moveTo>
                <a:lnTo>
                  <a:pt x="18083" y="3957"/>
                </a:lnTo>
                <a:lnTo>
                  <a:pt x="18163" y="4077"/>
                </a:lnTo>
                <a:lnTo>
                  <a:pt x="18257" y="4149"/>
                </a:lnTo>
                <a:lnTo>
                  <a:pt x="18373" y="4180"/>
                </a:lnTo>
                <a:lnTo>
                  <a:pt x="18540" y="4306"/>
                </a:lnTo>
                <a:lnTo>
                  <a:pt x="18612" y="4388"/>
                </a:lnTo>
                <a:lnTo>
                  <a:pt x="18796" y="4609"/>
                </a:lnTo>
                <a:lnTo>
                  <a:pt x="18779" y="4659"/>
                </a:lnTo>
                <a:lnTo>
                  <a:pt x="19017" y="4882"/>
                </a:lnTo>
                <a:lnTo>
                  <a:pt x="19047" y="4998"/>
                </a:lnTo>
                <a:lnTo>
                  <a:pt x="19164" y="5255"/>
                </a:lnTo>
                <a:lnTo>
                  <a:pt x="19265" y="5388"/>
                </a:lnTo>
                <a:lnTo>
                  <a:pt x="19355" y="5546"/>
                </a:lnTo>
                <a:lnTo>
                  <a:pt x="19437" y="5654"/>
                </a:lnTo>
                <a:lnTo>
                  <a:pt x="19501" y="5796"/>
                </a:lnTo>
                <a:lnTo>
                  <a:pt x="19556" y="5792"/>
                </a:lnTo>
                <a:lnTo>
                  <a:pt x="19561" y="5733"/>
                </a:lnTo>
                <a:lnTo>
                  <a:pt x="19657" y="5831"/>
                </a:lnTo>
                <a:lnTo>
                  <a:pt x="19675" y="5797"/>
                </a:lnTo>
                <a:lnTo>
                  <a:pt x="19610" y="5684"/>
                </a:lnTo>
                <a:lnTo>
                  <a:pt x="19421" y="5481"/>
                </a:lnTo>
                <a:lnTo>
                  <a:pt x="19387" y="5557"/>
                </a:lnTo>
                <a:lnTo>
                  <a:pt x="19339" y="5410"/>
                </a:lnTo>
                <a:lnTo>
                  <a:pt x="19241" y="5235"/>
                </a:lnTo>
                <a:lnTo>
                  <a:pt x="19141" y="5009"/>
                </a:lnTo>
                <a:lnTo>
                  <a:pt x="19213" y="5052"/>
                </a:lnTo>
                <a:lnTo>
                  <a:pt x="19216" y="4993"/>
                </a:lnTo>
                <a:lnTo>
                  <a:pt x="19032" y="4754"/>
                </a:lnTo>
                <a:lnTo>
                  <a:pt x="18928" y="4542"/>
                </a:lnTo>
                <a:lnTo>
                  <a:pt x="18806" y="4368"/>
                </a:lnTo>
                <a:lnTo>
                  <a:pt x="18706" y="4271"/>
                </a:lnTo>
                <a:lnTo>
                  <a:pt x="18666" y="4265"/>
                </a:lnTo>
                <a:lnTo>
                  <a:pt x="18562" y="4183"/>
                </a:lnTo>
                <a:lnTo>
                  <a:pt x="18455" y="4138"/>
                </a:lnTo>
                <a:lnTo>
                  <a:pt x="18292" y="3991"/>
                </a:lnTo>
                <a:lnTo>
                  <a:pt x="18204" y="3954"/>
                </a:lnTo>
                <a:close/>
                <a:moveTo>
                  <a:pt x="7830" y="4079"/>
                </a:moveTo>
                <a:lnTo>
                  <a:pt x="7721" y="4119"/>
                </a:lnTo>
                <a:lnTo>
                  <a:pt x="7706" y="4132"/>
                </a:lnTo>
                <a:lnTo>
                  <a:pt x="7713" y="4181"/>
                </a:lnTo>
                <a:lnTo>
                  <a:pt x="7693" y="4228"/>
                </a:lnTo>
                <a:lnTo>
                  <a:pt x="7674" y="4276"/>
                </a:lnTo>
                <a:lnTo>
                  <a:pt x="7723" y="4272"/>
                </a:lnTo>
                <a:lnTo>
                  <a:pt x="7842" y="4201"/>
                </a:lnTo>
                <a:lnTo>
                  <a:pt x="7894" y="4107"/>
                </a:lnTo>
                <a:lnTo>
                  <a:pt x="7890" y="4085"/>
                </a:lnTo>
                <a:lnTo>
                  <a:pt x="7830" y="4079"/>
                </a:lnTo>
                <a:close/>
                <a:moveTo>
                  <a:pt x="5955" y="4084"/>
                </a:moveTo>
                <a:lnTo>
                  <a:pt x="5902" y="4104"/>
                </a:lnTo>
                <a:lnTo>
                  <a:pt x="5876" y="4136"/>
                </a:lnTo>
                <a:lnTo>
                  <a:pt x="5950" y="4158"/>
                </a:lnTo>
                <a:lnTo>
                  <a:pt x="5989" y="4138"/>
                </a:lnTo>
                <a:lnTo>
                  <a:pt x="6002" y="4109"/>
                </a:lnTo>
                <a:lnTo>
                  <a:pt x="5963" y="4085"/>
                </a:lnTo>
                <a:lnTo>
                  <a:pt x="5955" y="4084"/>
                </a:lnTo>
                <a:close/>
                <a:moveTo>
                  <a:pt x="6794" y="4237"/>
                </a:moveTo>
                <a:lnTo>
                  <a:pt x="6707" y="4254"/>
                </a:lnTo>
                <a:lnTo>
                  <a:pt x="6697" y="4319"/>
                </a:lnTo>
                <a:lnTo>
                  <a:pt x="6737" y="4353"/>
                </a:lnTo>
                <a:lnTo>
                  <a:pt x="6757" y="4358"/>
                </a:lnTo>
                <a:lnTo>
                  <a:pt x="6831" y="4353"/>
                </a:lnTo>
                <a:lnTo>
                  <a:pt x="6889" y="4306"/>
                </a:lnTo>
                <a:lnTo>
                  <a:pt x="6881" y="4257"/>
                </a:lnTo>
                <a:lnTo>
                  <a:pt x="6794" y="4237"/>
                </a:lnTo>
                <a:close/>
                <a:moveTo>
                  <a:pt x="8572" y="4403"/>
                </a:moveTo>
                <a:lnTo>
                  <a:pt x="8483" y="4476"/>
                </a:lnTo>
                <a:lnTo>
                  <a:pt x="8418" y="4621"/>
                </a:lnTo>
                <a:lnTo>
                  <a:pt x="8416" y="4553"/>
                </a:lnTo>
                <a:lnTo>
                  <a:pt x="8372" y="4466"/>
                </a:lnTo>
                <a:lnTo>
                  <a:pt x="8248" y="4530"/>
                </a:lnTo>
                <a:lnTo>
                  <a:pt x="8185" y="4575"/>
                </a:lnTo>
                <a:lnTo>
                  <a:pt x="8190" y="4664"/>
                </a:lnTo>
                <a:lnTo>
                  <a:pt x="8193" y="4762"/>
                </a:lnTo>
                <a:lnTo>
                  <a:pt x="8181" y="4843"/>
                </a:lnTo>
                <a:lnTo>
                  <a:pt x="8083" y="4964"/>
                </a:lnTo>
                <a:lnTo>
                  <a:pt x="8007" y="4981"/>
                </a:lnTo>
                <a:lnTo>
                  <a:pt x="7942" y="5047"/>
                </a:lnTo>
                <a:lnTo>
                  <a:pt x="7760" y="5146"/>
                </a:lnTo>
                <a:lnTo>
                  <a:pt x="7642" y="5215"/>
                </a:lnTo>
                <a:lnTo>
                  <a:pt x="7581" y="5262"/>
                </a:lnTo>
                <a:lnTo>
                  <a:pt x="7406" y="5259"/>
                </a:lnTo>
                <a:lnTo>
                  <a:pt x="7370" y="5312"/>
                </a:lnTo>
                <a:lnTo>
                  <a:pt x="7403" y="5353"/>
                </a:lnTo>
                <a:lnTo>
                  <a:pt x="7353" y="5417"/>
                </a:lnTo>
                <a:lnTo>
                  <a:pt x="7262" y="5541"/>
                </a:lnTo>
                <a:lnTo>
                  <a:pt x="7284" y="5422"/>
                </a:lnTo>
                <a:lnTo>
                  <a:pt x="7273" y="5376"/>
                </a:lnTo>
                <a:lnTo>
                  <a:pt x="7177" y="5388"/>
                </a:lnTo>
                <a:lnTo>
                  <a:pt x="7060" y="5430"/>
                </a:lnTo>
                <a:lnTo>
                  <a:pt x="7015" y="5516"/>
                </a:lnTo>
                <a:lnTo>
                  <a:pt x="7050" y="5555"/>
                </a:lnTo>
                <a:lnTo>
                  <a:pt x="7082" y="5575"/>
                </a:lnTo>
                <a:lnTo>
                  <a:pt x="7159" y="5610"/>
                </a:lnTo>
                <a:lnTo>
                  <a:pt x="7021" y="5652"/>
                </a:lnTo>
                <a:lnTo>
                  <a:pt x="6944" y="5659"/>
                </a:lnTo>
                <a:lnTo>
                  <a:pt x="6861" y="5600"/>
                </a:lnTo>
                <a:lnTo>
                  <a:pt x="6650" y="5619"/>
                </a:lnTo>
                <a:lnTo>
                  <a:pt x="6598" y="5681"/>
                </a:lnTo>
                <a:lnTo>
                  <a:pt x="6469" y="5708"/>
                </a:lnTo>
                <a:lnTo>
                  <a:pt x="6333" y="5860"/>
                </a:lnTo>
                <a:lnTo>
                  <a:pt x="6186" y="5934"/>
                </a:lnTo>
                <a:lnTo>
                  <a:pt x="6087" y="6014"/>
                </a:lnTo>
                <a:lnTo>
                  <a:pt x="5915" y="6230"/>
                </a:lnTo>
                <a:lnTo>
                  <a:pt x="5773" y="6358"/>
                </a:lnTo>
                <a:lnTo>
                  <a:pt x="5707" y="6474"/>
                </a:lnTo>
                <a:lnTo>
                  <a:pt x="5756" y="6620"/>
                </a:lnTo>
                <a:lnTo>
                  <a:pt x="5671" y="6802"/>
                </a:lnTo>
                <a:lnTo>
                  <a:pt x="5722" y="6900"/>
                </a:lnTo>
                <a:lnTo>
                  <a:pt x="5888" y="6839"/>
                </a:lnTo>
                <a:lnTo>
                  <a:pt x="6029" y="6789"/>
                </a:lnTo>
                <a:lnTo>
                  <a:pt x="6138" y="6686"/>
                </a:lnTo>
                <a:lnTo>
                  <a:pt x="6312" y="6715"/>
                </a:lnTo>
                <a:lnTo>
                  <a:pt x="6429" y="6681"/>
                </a:lnTo>
                <a:lnTo>
                  <a:pt x="6539" y="6612"/>
                </a:lnTo>
                <a:lnTo>
                  <a:pt x="6662" y="6602"/>
                </a:lnTo>
                <a:lnTo>
                  <a:pt x="6744" y="6662"/>
                </a:lnTo>
                <a:lnTo>
                  <a:pt x="6826" y="6713"/>
                </a:lnTo>
                <a:lnTo>
                  <a:pt x="6856" y="6747"/>
                </a:lnTo>
                <a:lnTo>
                  <a:pt x="7036" y="6789"/>
                </a:lnTo>
                <a:lnTo>
                  <a:pt x="7244" y="6743"/>
                </a:lnTo>
                <a:lnTo>
                  <a:pt x="7339" y="6750"/>
                </a:lnTo>
                <a:lnTo>
                  <a:pt x="7380" y="6804"/>
                </a:lnTo>
                <a:lnTo>
                  <a:pt x="7544" y="6901"/>
                </a:lnTo>
                <a:lnTo>
                  <a:pt x="7763" y="6925"/>
                </a:lnTo>
                <a:lnTo>
                  <a:pt x="7991" y="6923"/>
                </a:lnTo>
                <a:lnTo>
                  <a:pt x="7942" y="6861"/>
                </a:lnTo>
                <a:lnTo>
                  <a:pt x="7845" y="6747"/>
                </a:lnTo>
                <a:lnTo>
                  <a:pt x="7964" y="6730"/>
                </a:lnTo>
                <a:lnTo>
                  <a:pt x="8046" y="6632"/>
                </a:lnTo>
                <a:lnTo>
                  <a:pt x="8012" y="6752"/>
                </a:lnTo>
                <a:lnTo>
                  <a:pt x="7989" y="6831"/>
                </a:lnTo>
                <a:lnTo>
                  <a:pt x="8088" y="6876"/>
                </a:lnTo>
                <a:lnTo>
                  <a:pt x="8180" y="6757"/>
                </a:lnTo>
                <a:lnTo>
                  <a:pt x="8213" y="6630"/>
                </a:lnTo>
                <a:lnTo>
                  <a:pt x="8198" y="6550"/>
                </a:lnTo>
                <a:lnTo>
                  <a:pt x="8255" y="6535"/>
                </a:lnTo>
                <a:lnTo>
                  <a:pt x="8270" y="6657"/>
                </a:lnTo>
                <a:lnTo>
                  <a:pt x="8329" y="6600"/>
                </a:lnTo>
                <a:lnTo>
                  <a:pt x="8377" y="6471"/>
                </a:lnTo>
                <a:lnTo>
                  <a:pt x="8426" y="6518"/>
                </a:lnTo>
                <a:lnTo>
                  <a:pt x="8498" y="6545"/>
                </a:lnTo>
                <a:lnTo>
                  <a:pt x="8556" y="6509"/>
                </a:lnTo>
                <a:lnTo>
                  <a:pt x="8570" y="6420"/>
                </a:lnTo>
                <a:lnTo>
                  <a:pt x="8655" y="6479"/>
                </a:lnTo>
                <a:lnTo>
                  <a:pt x="8726" y="6329"/>
                </a:lnTo>
                <a:lnTo>
                  <a:pt x="8772" y="6348"/>
                </a:lnTo>
                <a:lnTo>
                  <a:pt x="8878" y="6232"/>
                </a:lnTo>
                <a:lnTo>
                  <a:pt x="8895" y="6115"/>
                </a:lnTo>
                <a:lnTo>
                  <a:pt x="8985" y="6119"/>
                </a:lnTo>
                <a:lnTo>
                  <a:pt x="9035" y="6152"/>
                </a:lnTo>
                <a:lnTo>
                  <a:pt x="9087" y="6040"/>
                </a:lnTo>
                <a:lnTo>
                  <a:pt x="9234" y="5898"/>
                </a:lnTo>
                <a:lnTo>
                  <a:pt x="9342" y="5834"/>
                </a:lnTo>
                <a:lnTo>
                  <a:pt x="9464" y="5765"/>
                </a:lnTo>
                <a:lnTo>
                  <a:pt x="9419" y="5716"/>
                </a:lnTo>
                <a:lnTo>
                  <a:pt x="9512" y="5753"/>
                </a:lnTo>
                <a:lnTo>
                  <a:pt x="9554" y="5735"/>
                </a:lnTo>
                <a:lnTo>
                  <a:pt x="9732" y="5706"/>
                </a:lnTo>
                <a:lnTo>
                  <a:pt x="9770" y="5641"/>
                </a:lnTo>
                <a:lnTo>
                  <a:pt x="9733" y="5572"/>
                </a:lnTo>
                <a:lnTo>
                  <a:pt x="9589" y="5543"/>
                </a:lnTo>
                <a:lnTo>
                  <a:pt x="9491" y="5541"/>
                </a:lnTo>
                <a:lnTo>
                  <a:pt x="9593" y="5494"/>
                </a:lnTo>
                <a:lnTo>
                  <a:pt x="9629" y="5440"/>
                </a:lnTo>
                <a:lnTo>
                  <a:pt x="9552" y="5442"/>
                </a:lnTo>
                <a:lnTo>
                  <a:pt x="9558" y="5353"/>
                </a:lnTo>
                <a:lnTo>
                  <a:pt x="9489" y="5301"/>
                </a:lnTo>
                <a:lnTo>
                  <a:pt x="9511" y="5274"/>
                </a:lnTo>
                <a:lnTo>
                  <a:pt x="9603" y="5358"/>
                </a:lnTo>
                <a:lnTo>
                  <a:pt x="9668" y="5415"/>
                </a:lnTo>
                <a:lnTo>
                  <a:pt x="9752" y="5398"/>
                </a:lnTo>
                <a:lnTo>
                  <a:pt x="9777" y="5222"/>
                </a:lnTo>
                <a:lnTo>
                  <a:pt x="9708" y="5094"/>
                </a:lnTo>
                <a:lnTo>
                  <a:pt x="9660" y="5047"/>
                </a:lnTo>
                <a:lnTo>
                  <a:pt x="9586" y="5053"/>
                </a:lnTo>
                <a:lnTo>
                  <a:pt x="9566" y="4991"/>
                </a:lnTo>
                <a:lnTo>
                  <a:pt x="9437" y="4966"/>
                </a:lnTo>
                <a:lnTo>
                  <a:pt x="9358" y="4988"/>
                </a:lnTo>
                <a:lnTo>
                  <a:pt x="9281" y="5070"/>
                </a:lnTo>
                <a:lnTo>
                  <a:pt x="9323" y="5006"/>
                </a:lnTo>
                <a:lnTo>
                  <a:pt x="9326" y="4972"/>
                </a:lnTo>
                <a:lnTo>
                  <a:pt x="9380" y="4905"/>
                </a:lnTo>
                <a:lnTo>
                  <a:pt x="9266" y="4875"/>
                </a:lnTo>
                <a:lnTo>
                  <a:pt x="9320" y="4839"/>
                </a:lnTo>
                <a:lnTo>
                  <a:pt x="9308" y="4775"/>
                </a:lnTo>
                <a:lnTo>
                  <a:pt x="9273" y="4715"/>
                </a:lnTo>
                <a:lnTo>
                  <a:pt x="9223" y="4669"/>
                </a:lnTo>
                <a:lnTo>
                  <a:pt x="9139" y="4686"/>
                </a:lnTo>
                <a:lnTo>
                  <a:pt x="9119" y="4654"/>
                </a:lnTo>
                <a:lnTo>
                  <a:pt x="8995" y="4577"/>
                </a:lnTo>
                <a:lnTo>
                  <a:pt x="8923" y="4557"/>
                </a:lnTo>
                <a:lnTo>
                  <a:pt x="8851" y="4632"/>
                </a:lnTo>
                <a:lnTo>
                  <a:pt x="8786" y="4626"/>
                </a:lnTo>
                <a:lnTo>
                  <a:pt x="8707" y="4525"/>
                </a:lnTo>
                <a:lnTo>
                  <a:pt x="8640" y="4410"/>
                </a:lnTo>
                <a:lnTo>
                  <a:pt x="8572" y="4403"/>
                </a:lnTo>
                <a:close/>
                <a:moveTo>
                  <a:pt x="12817" y="5065"/>
                </a:moveTo>
                <a:lnTo>
                  <a:pt x="12695" y="5107"/>
                </a:lnTo>
                <a:lnTo>
                  <a:pt x="12676" y="5124"/>
                </a:lnTo>
                <a:lnTo>
                  <a:pt x="12690" y="5154"/>
                </a:lnTo>
                <a:lnTo>
                  <a:pt x="12900" y="5292"/>
                </a:lnTo>
                <a:lnTo>
                  <a:pt x="12887" y="5095"/>
                </a:lnTo>
                <a:lnTo>
                  <a:pt x="12817" y="5065"/>
                </a:lnTo>
                <a:close/>
                <a:moveTo>
                  <a:pt x="19206" y="5090"/>
                </a:moveTo>
                <a:lnTo>
                  <a:pt x="19218" y="5166"/>
                </a:lnTo>
                <a:lnTo>
                  <a:pt x="19278" y="5243"/>
                </a:lnTo>
                <a:lnTo>
                  <a:pt x="19292" y="5306"/>
                </a:lnTo>
                <a:lnTo>
                  <a:pt x="19374" y="5413"/>
                </a:lnTo>
                <a:lnTo>
                  <a:pt x="19421" y="5447"/>
                </a:lnTo>
                <a:lnTo>
                  <a:pt x="19421" y="5385"/>
                </a:lnTo>
                <a:lnTo>
                  <a:pt x="19352" y="5312"/>
                </a:lnTo>
                <a:lnTo>
                  <a:pt x="19307" y="5233"/>
                </a:lnTo>
                <a:lnTo>
                  <a:pt x="19320" y="5205"/>
                </a:lnTo>
                <a:lnTo>
                  <a:pt x="19233" y="5097"/>
                </a:lnTo>
                <a:lnTo>
                  <a:pt x="19206" y="5090"/>
                </a:lnTo>
                <a:close/>
                <a:moveTo>
                  <a:pt x="12390" y="5144"/>
                </a:moveTo>
                <a:lnTo>
                  <a:pt x="12283" y="5153"/>
                </a:lnTo>
                <a:lnTo>
                  <a:pt x="12298" y="5217"/>
                </a:lnTo>
                <a:lnTo>
                  <a:pt x="12380" y="5331"/>
                </a:lnTo>
                <a:lnTo>
                  <a:pt x="12432" y="5316"/>
                </a:lnTo>
                <a:lnTo>
                  <a:pt x="12562" y="5355"/>
                </a:lnTo>
                <a:lnTo>
                  <a:pt x="12649" y="5341"/>
                </a:lnTo>
                <a:lnTo>
                  <a:pt x="12735" y="5284"/>
                </a:lnTo>
                <a:lnTo>
                  <a:pt x="12738" y="5213"/>
                </a:lnTo>
                <a:lnTo>
                  <a:pt x="12582" y="5149"/>
                </a:lnTo>
                <a:lnTo>
                  <a:pt x="12390" y="5144"/>
                </a:lnTo>
                <a:close/>
                <a:moveTo>
                  <a:pt x="1548" y="5400"/>
                </a:moveTo>
                <a:lnTo>
                  <a:pt x="1514" y="5464"/>
                </a:lnTo>
                <a:lnTo>
                  <a:pt x="1491" y="5521"/>
                </a:lnTo>
                <a:lnTo>
                  <a:pt x="1497" y="5521"/>
                </a:lnTo>
                <a:lnTo>
                  <a:pt x="1472" y="5575"/>
                </a:lnTo>
                <a:lnTo>
                  <a:pt x="1466" y="5629"/>
                </a:lnTo>
                <a:lnTo>
                  <a:pt x="1405" y="5765"/>
                </a:lnTo>
                <a:lnTo>
                  <a:pt x="1410" y="5735"/>
                </a:lnTo>
                <a:lnTo>
                  <a:pt x="1377" y="5797"/>
                </a:lnTo>
                <a:lnTo>
                  <a:pt x="1296" y="5987"/>
                </a:lnTo>
                <a:lnTo>
                  <a:pt x="1266" y="6045"/>
                </a:lnTo>
                <a:lnTo>
                  <a:pt x="1203" y="6195"/>
                </a:lnTo>
                <a:lnTo>
                  <a:pt x="1178" y="6269"/>
                </a:lnTo>
                <a:lnTo>
                  <a:pt x="1131" y="6351"/>
                </a:lnTo>
                <a:lnTo>
                  <a:pt x="1096" y="6423"/>
                </a:lnTo>
                <a:lnTo>
                  <a:pt x="1062" y="6518"/>
                </a:lnTo>
                <a:lnTo>
                  <a:pt x="1029" y="6599"/>
                </a:lnTo>
                <a:lnTo>
                  <a:pt x="1024" y="6553"/>
                </a:lnTo>
                <a:lnTo>
                  <a:pt x="968" y="6745"/>
                </a:lnTo>
                <a:lnTo>
                  <a:pt x="937" y="6849"/>
                </a:lnTo>
                <a:lnTo>
                  <a:pt x="915" y="6940"/>
                </a:lnTo>
                <a:lnTo>
                  <a:pt x="898" y="7023"/>
                </a:lnTo>
                <a:lnTo>
                  <a:pt x="910" y="7019"/>
                </a:lnTo>
                <a:lnTo>
                  <a:pt x="962" y="6875"/>
                </a:lnTo>
                <a:lnTo>
                  <a:pt x="992" y="6769"/>
                </a:lnTo>
                <a:lnTo>
                  <a:pt x="1007" y="6753"/>
                </a:lnTo>
                <a:lnTo>
                  <a:pt x="1044" y="6652"/>
                </a:lnTo>
                <a:lnTo>
                  <a:pt x="1057" y="6607"/>
                </a:lnTo>
                <a:lnTo>
                  <a:pt x="1112" y="6482"/>
                </a:lnTo>
                <a:lnTo>
                  <a:pt x="1191" y="6312"/>
                </a:lnTo>
                <a:lnTo>
                  <a:pt x="1223" y="6243"/>
                </a:lnTo>
                <a:lnTo>
                  <a:pt x="1258" y="6125"/>
                </a:lnTo>
                <a:lnTo>
                  <a:pt x="1303" y="6041"/>
                </a:lnTo>
                <a:lnTo>
                  <a:pt x="1375" y="5886"/>
                </a:lnTo>
                <a:lnTo>
                  <a:pt x="1417" y="5779"/>
                </a:lnTo>
                <a:lnTo>
                  <a:pt x="1471" y="5658"/>
                </a:lnTo>
                <a:lnTo>
                  <a:pt x="1476" y="5634"/>
                </a:lnTo>
                <a:lnTo>
                  <a:pt x="1514" y="5541"/>
                </a:lnTo>
                <a:lnTo>
                  <a:pt x="1531" y="5489"/>
                </a:lnTo>
                <a:lnTo>
                  <a:pt x="1544" y="5445"/>
                </a:lnTo>
                <a:lnTo>
                  <a:pt x="1534" y="5445"/>
                </a:lnTo>
                <a:lnTo>
                  <a:pt x="1548" y="5400"/>
                </a:lnTo>
                <a:close/>
                <a:moveTo>
                  <a:pt x="1571" y="5816"/>
                </a:moveTo>
                <a:lnTo>
                  <a:pt x="1537" y="5853"/>
                </a:lnTo>
                <a:lnTo>
                  <a:pt x="1502" y="5986"/>
                </a:lnTo>
                <a:lnTo>
                  <a:pt x="1524" y="5962"/>
                </a:lnTo>
                <a:lnTo>
                  <a:pt x="1556" y="5871"/>
                </a:lnTo>
                <a:lnTo>
                  <a:pt x="1571" y="5816"/>
                </a:lnTo>
                <a:close/>
                <a:moveTo>
                  <a:pt x="3853" y="5900"/>
                </a:moveTo>
                <a:lnTo>
                  <a:pt x="3782" y="6026"/>
                </a:lnTo>
                <a:lnTo>
                  <a:pt x="3739" y="6178"/>
                </a:lnTo>
                <a:lnTo>
                  <a:pt x="3742" y="6226"/>
                </a:lnTo>
                <a:lnTo>
                  <a:pt x="3769" y="6210"/>
                </a:lnTo>
                <a:lnTo>
                  <a:pt x="3826" y="6077"/>
                </a:lnTo>
                <a:lnTo>
                  <a:pt x="3863" y="5930"/>
                </a:lnTo>
                <a:lnTo>
                  <a:pt x="3853" y="5900"/>
                </a:lnTo>
                <a:close/>
                <a:moveTo>
                  <a:pt x="1537" y="5954"/>
                </a:moveTo>
                <a:lnTo>
                  <a:pt x="1529" y="5962"/>
                </a:lnTo>
                <a:lnTo>
                  <a:pt x="1479" y="6053"/>
                </a:lnTo>
                <a:lnTo>
                  <a:pt x="1437" y="6094"/>
                </a:lnTo>
                <a:lnTo>
                  <a:pt x="1419" y="6127"/>
                </a:lnTo>
                <a:lnTo>
                  <a:pt x="1469" y="6094"/>
                </a:lnTo>
                <a:lnTo>
                  <a:pt x="1537" y="5954"/>
                </a:lnTo>
                <a:close/>
                <a:moveTo>
                  <a:pt x="11422" y="5959"/>
                </a:moveTo>
                <a:lnTo>
                  <a:pt x="11407" y="5994"/>
                </a:lnTo>
                <a:lnTo>
                  <a:pt x="11407" y="6038"/>
                </a:lnTo>
                <a:lnTo>
                  <a:pt x="11384" y="5996"/>
                </a:lnTo>
                <a:lnTo>
                  <a:pt x="11342" y="6011"/>
                </a:lnTo>
                <a:lnTo>
                  <a:pt x="11297" y="6056"/>
                </a:lnTo>
                <a:lnTo>
                  <a:pt x="11364" y="6043"/>
                </a:lnTo>
                <a:lnTo>
                  <a:pt x="11365" y="6099"/>
                </a:lnTo>
                <a:lnTo>
                  <a:pt x="11414" y="6127"/>
                </a:lnTo>
                <a:lnTo>
                  <a:pt x="11437" y="6090"/>
                </a:lnTo>
                <a:lnTo>
                  <a:pt x="11431" y="6062"/>
                </a:lnTo>
                <a:lnTo>
                  <a:pt x="11451" y="6041"/>
                </a:lnTo>
                <a:lnTo>
                  <a:pt x="11479" y="6006"/>
                </a:lnTo>
                <a:lnTo>
                  <a:pt x="11479" y="5979"/>
                </a:lnTo>
                <a:lnTo>
                  <a:pt x="11422" y="5959"/>
                </a:lnTo>
                <a:close/>
                <a:moveTo>
                  <a:pt x="1410" y="6045"/>
                </a:moveTo>
                <a:lnTo>
                  <a:pt x="1373" y="6067"/>
                </a:lnTo>
                <a:lnTo>
                  <a:pt x="1335" y="6141"/>
                </a:lnTo>
                <a:lnTo>
                  <a:pt x="1281" y="6221"/>
                </a:lnTo>
                <a:lnTo>
                  <a:pt x="1275" y="6252"/>
                </a:lnTo>
                <a:lnTo>
                  <a:pt x="1317" y="6203"/>
                </a:lnTo>
                <a:lnTo>
                  <a:pt x="1395" y="6088"/>
                </a:lnTo>
                <a:lnTo>
                  <a:pt x="1410" y="6045"/>
                </a:lnTo>
                <a:close/>
                <a:moveTo>
                  <a:pt x="10634" y="6112"/>
                </a:moveTo>
                <a:lnTo>
                  <a:pt x="10599" y="6159"/>
                </a:lnTo>
                <a:lnTo>
                  <a:pt x="10559" y="6115"/>
                </a:lnTo>
                <a:lnTo>
                  <a:pt x="10456" y="6151"/>
                </a:lnTo>
                <a:lnTo>
                  <a:pt x="10478" y="6233"/>
                </a:lnTo>
                <a:lnTo>
                  <a:pt x="10525" y="6242"/>
                </a:lnTo>
                <a:lnTo>
                  <a:pt x="10525" y="6289"/>
                </a:lnTo>
                <a:lnTo>
                  <a:pt x="10622" y="6326"/>
                </a:lnTo>
                <a:lnTo>
                  <a:pt x="10723" y="6309"/>
                </a:lnTo>
                <a:lnTo>
                  <a:pt x="10771" y="6216"/>
                </a:lnTo>
                <a:lnTo>
                  <a:pt x="10711" y="6157"/>
                </a:lnTo>
                <a:lnTo>
                  <a:pt x="10634" y="6112"/>
                </a:lnTo>
                <a:close/>
                <a:moveTo>
                  <a:pt x="19462" y="6125"/>
                </a:moveTo>
                <a:lnTo>
                  <a:pt x="19457" y="6191"/>
                </a:lnTo>
                <a:lnTo>
                  <a:pt x="19486" y="6302"/>
                </a:lnTo>
                <a:lnTo>
                  <a:pt x="19539" y="6378"/>
                </a:lnTo>
                <a:lnTo>
                  <a:pt x="19551" y="6430"/>
                </a:lnTo>
                <a:lnTo>
                  <a:pt x="19605" y="6528"/>
                </a:lnTo>
                <a:lnTo>
                  <a:pt x="19653" y="6620"/>
                </a:lnTo>
                <a:lnTo>
                  <a:pt x="19707" y="6688"/>
                </a:lnTo>
                <a:lnTo>
                  <a:pt x="19794" y="6760"/>
                </a:lnTo>
                <a:lnTo>
                  <a:pt x="19854" y="6804"/>
                </a:lnTo>
                <a:lnTo>
                  <a:pt x="19851" y="6757"/>
                </a:lnTo>
                <a:lnTo>
                  <a:pt x="19760" y="6657"/>
                </a:lnTo>
                <a:lnTo>
                  <a:pt x="19707" y="6578"/>
                </a:lnTo>
                <a:lnTo>
                  <a:pt x="19698" y="6504"/>
                </a:lnTo>
                <a:lnTo>
                  <a:pt x="19683" y="6482"/>
                </a:lnTo>
                <a:lnTo>
                  <a:pt x="19667" y="6531"/>
                </a:lnTo>
                <a:lnTo>
                  <a:pt x="19610" y="6449"/>
                </a:lnTo>
                <a:lnTo>
                  <a:pt x="19585" y="6375"/>
                </a:lnTo>
                <a:lnTo>
                  <a:pt x="19531" y="6262"/>
                </a:lnTo>
                <a:lnTo>
                  <a:pt x="19549" y="6210"/>
                </a:lnTo>
                <a:lnTo>
                  <a:pt x="19486" y="6132"/>
                </a:lnTo>
                <a:lnTo>
                  <a:pt x="19462" y="6125"/>
                </a:lnTo>
                <a:close/>
                <a:moveTo>
                  <a:pt x="3414" y="6129"/>
                </a:moveTo>
                <a:lnTo>
                  <a:pt x="3367" y="6179"/>
                </a:lnTo>
                <a:lnTo>
                  <a:pt x="3309" y="6346"/>
                </a:lnTo>
                <a:lnTo>
                  <a:pt x="3319" y="6381"/>
                </a:lnTo>
                <a:lnTo>
                  <a:pt x="3374" y="6403"/>
                </a:lnTo>
                <a:lnTo>
                  <a:pt x="3369" y="6306"/>
                </a:lnTo>
                <a:lnTo>
                  <a:pt x="3387" y="6220"/>
                </a:lnTo>
                <a:lnTo>
                  <a:pt x="3454" y="6147"/>
                </a:lnTo>
                <a:lnTo>
                  <a:pt x="3414" y="6129"/>
                </a:lnTo>
                <a:close/>
                <a:moveTo>
                  <a:pt x="10314" y="6181"/>
                </a:moveTo>
                <a:lnTo>
                  <a:pt x="10209" y="6220"/>
                </a:lnTo>
                <a:lnTo>
                  <a:pt x="10195" y="6356"/>
                </a:lnTo>
                <a:lnTo>
                  <a:pt x="10227" y="6513"/>
                </a:lnTo>
                <a:lnTo>
                  <a:pt x="10272" y="6573"/>
                </a:lnTo>
                <a:lnTo>
                  <a:pt x="10222" y="6627"/>
                </a:lnTo>
                <a:lnTo>
                  <a:pt x="10286" y="6747"/>
                </a:lnTo>
                <a:lnTo>
                  <a:pt x="10338" y="6748"/>
                </a:lnTo>
                <a:lnTo>
                  <a:pt x="10383" y="6609"/>
                </a:lnTo>
                <a:lnTo>
                  <a:pt x="10423" y="6580"/>
                </a:lnTo>
                <a:lnTo>
                  <a:pt x="10463" y="6457"/>
                </a:lnTo>
                <a:lnTo>
                  <a:pt x="10564" y="6398"/>
                </a:lnTo>
                <a:lnTo>
                  <a:pt x="10466" y="6260"/>
                </a:lnTo>
                <a:lnTo>
                  <a:pt x="10436" y="6195"/>
                </a:lnTo>
                <a:lnTo>
                  <a:pt x="10388" y="6193"/>
                </a:lnTo>
                <a:lnTo>
                  <a:pt x="10363" y="6248"/>
                </a:lnTo>
                <a:lnTo>
                  <a:pt x="10316" y="6242"/>
                </a:lnTo>
                <a:lnTo>
                  <a:pt x="10314" y="6181"/>
                </a:lnTo>
                <a:close/>
                <a:moveTo>
                  <a:pt x="12355" y="6262"/>
                </a:moveTo>
                <a:lnTo>
                  <a:pt x="12308" y="6324"/>
                </a:lnTo>
                <a:lnTo>
                  <a:pt x="12291" y="6415"/>
                </a:lnTo>
                <a:lnTo>
                  <a:pt x="12191" y="6513"/>
                </a:lnTo>
                <a:lnTo>
                  <a:pt x="12127" y="6678"/>
                </a:lnTo>
                <a:lnTo>
                  <a:pt x="12084" y="6804"/>
                </a:lnTo>
                <a:lnTo>
                  <a:pt x="12134" y="6871"/>
                </a:lnTo>
                <a:lnTo>
                  <a:pt x="12099" y="7058"/>
                </a:lnTo>
                <a:lnTo>
                  <a:pt x="12152" y="7060"/>
                </a:lnTo>
                <a:lnTo>
                  <a:pt x="12124" y="7238"/>
                </a:lnTo>
                <a:lnTo>
                  <a:pt x="12167" y="7329"/>
                </a:lnTo>
                <a:lnTo>
                  <a:pt x="12130" y="7385"/>
                </a:lnTo>
                <a:lnTo>
                  <a:pt x="12179" y="7472"/>
                </a:lnTo>
                <a:lnTo>
                  <a:pt x="12296" y="7477"/>
                </a:lnTo>
                <a:lnTo>
                  <a:pt x="12346" y="7545"/>
                </a:lnTo>
                <a:lnTo>
                  <a:pt x="12536" y="7487"/>
                </a:lnTo>
                <a:lnTo>
                  <a:pt x="12559" y="7459"/>
                </a:lnTo>
                <a:lnTo>
                  <a:pt x="12387" y="7373"/>
                </a:lnTo>
                <a:lnTo>
                  <a:pt x="12306" y="7243"/>
                </a:lnTo>
                <a:lnTo>
                  <a:pt x="12298" y="7053"/>
                </a:lnTo>
                <a:lnTo>
                  <a:pt x="12274" y="6868"/>
                </a:lnTo>
                <a:lnTo>
                  <a:pt x="12308" y="6652"/>
                </a:lnTo>
                <a:lnTo>
                  <a:pt x="12373" y="6513"/>
                </a:lnTo>
                <a:lnTo>
                  <a:pt x="12440" y="6358"/>
                </a:lnTo>
                <a:lnTo>
                  <a:pt x="12425" y="6299"/>
                </a:lnTo>
                <a:lnTo>
                  <a:pt x="12355" y="6262"/>
                </a:lnTo>
                <a:close/>
                <a:moveTo>
                  <a:pt x="10604" y="6487"/>
                </a:moveTo>
                <a:lnTo>
                  <a:pt x="10523" y="6516"/>
                </a:lnTo>
                <a:lnTo>
                  <a:pt x="10540" y="6573"/>
                </a:lnTo>
                <a:lnTo>
                  <a:pt x="10508" y="6615"/>
                </a:lnTo>
                <a:lnTo>
                  <a:pt x="10575" y="6661"/>
                </a:lnTo>
                <a:lnTo>
                  <a:pt x="10669" y="6595"/>
                </a:lnTo>
                <a:lnTo>
                  <a:pt x="10615" y="6553"/>
                </a:lnTo>
                <a:lnTo>
                  <a:pt x="10604" y="6487"/>
                </a:lnTo>
                <a:close/>
                <a:moveTo>
                  <a:pt x="3675" y="6531"/>
                </a:moveTo>
                <a:lnTo>
                  <a:pt x="3640" y="6597"/>
                </a:lnTo>
                <a:lnTo>
                  <a:pt x="3586" y="6561"/>
                </a:lnTo>
                <a:lnTo>
                  <a:pt x="3546" y="6600"/>
                </a:lnTo>
                <a:lnTo>
                  <a:pt x="3563" y="6804"/>
                </a:lnTo>
                <a:lnTo>
                  <a:pt x="3585" y="6910"/>
                </a:lnTo>
                <a:lnTo>
                  <a:pt x="3568" y="7029"/>
                </a:lnTo>
                <a:lnTo>
                  <a:pt x="3493" y="6997"/>
                </a:lnTo>
                <a:lnTo>
                  <a:pt x="3498" y="7063"/>
                </a:lnTo>
                <a:lnTo>
                  <a:pt x="3637" y="7105"/>
                </a:lnTo>
                <a:lnTo>
                  <a:pt x="3623" y="7146"/>
                </a:lnTo>
                <a:lnTo>
                  <a:pt x="3509" y="7198"/>
                </a:lnTo>
                <a:lnTo>
                  <a:pt x="3498" y="7284"/>
                </a:lnTo>
                <a:lnTo>
                  <a:pt x="3513" y="7327"/>
                </a:lnTo>
                <a:lnTo>
                  <a:pt x="3640" y="7289"/>
                </a:lnTo>
                <a:lnTo>
                  <a:pt x="3717" y="7199"/>
                </a:lnTo>
                <a:lnTo>
                  <a:pt x="3787" y="7139"/>
                </a:lnTo>
                <a:lnTo>
                  <a:pt x="3750" y="7083"/>
                </a:lnTo>
                <a:lnTo>
                  <a:pt x="3858" y="7050"/>
                </a:lnTo>
                <a:lnTo>
                  <a:pt x="3881" y="6923"/>
                </a:lnTo>
                <a:lnTo>
                  <a:pt x="3839" y="6898"/>
                </a:lnTo>
                <a:lnTo>
                  <a:pt x="3863" y="6787"/>
                </a:lnTo>
                <a:lnTo>
                  <a:pt x="3918" y="6792"/>
                </a:lnTo>
                <a:lnTo>
                  <a:pt x="3938" y="6708"/>
                </a:lnTo>
                <a:lnTo>
                  <a:pt x="3881" y="6671"/>
                </a:lnTo>
                <a:lnTo>
                  <a:pt x="4015" y="6664"/>
                </a:lnTo>
                <a:lnTo>
                  <a:pt x="4114" y="6664"/>
                </a:lnTo>
                <a:lnTo>
                  <a:pt x="4156" y="6659"/>
                </a:lnTo>
                <a:lnTo>
                  <a:pt x="4156" y="6612"/>
                </a:lnTo>
                <a:lnTo>
                  <a:pt x="4094" y="6558"/>
                </a:lnTo>
                <a:lnTo>
                  <a:pt x="4003" y="6543"/>
                </a:lnTo>
                <a:lnTo>
                  <a:pt x="3766" y="6568"/>
                </a:lnTo>
                <a:lnTo>
                  <a:pt x="3675" y="6531"/>
                </a:lnTo>
                <a:close/>
                <a:moveTo>
                  <a:pt x="962" y="6612"/>
                </a:moveTo>
                <a:lnTo>
                  <a:pt x="955" y="6615"/>
                </a:lnTo>
                <a:lnTo>
                  <a:pt x="908" y="6728"/>
                </a:lnTo>
                <a:lnTo>
                  <a:pt x="875" y="6822"/>
                </a:lnTo>
                <a:lnTo>
                  <a:pt x="871" y="6851"/>
                </a:lnTo>
                <a:lnTo>
                  <a:pt x="843" y="6949"/>
                </a:lnTo>
                <a:lnTo>
                  <a:pt x="865" y="6900"/>
                </a:lnTo>
                <a:lnTo>
                  <a:pt x="900" y="6802"/>
                </a:lnTo>
                <a:lnTo>
                  <a:pt x="935" y="6700"/>
                </a:lnTo>
                <a:lnTo>
                  <a:pt x="947" y="6664"/>
                </a:lnTo>
                <a:lnTo>
                  <a:pt x="962" y="6612"/>
                </a:lnTo>
                <a:close/>
                <a:moveTo>
                  <a:pt x="818" y="7139"/>
                </a:moveTo>
                <a:lnTo>
                  <a:pt x="803" y="7156"/>
                </a:lnTo>
                <a:lnTo>
                  <a:pt x="766" y="7262"/>
                </a:lnTo>
                <a:lnTo>
                  <a:pt x="761" y="7311"/>
                </a:lnTo>
                <a:lnTo>
                  <a:pt x="737" y="7406"/>
                </a:lnTo>
                <a:lnTo>
                  <a:pt x="727" y="7467"/>
                </a:lnTo>
                <a:lnTo>
                  <a:pt x="700" y="7580"/>
                </a:lnTo>
                <a:lnTo>
                  <a:pt x="682" y="7614"/>
                </a:lnTo>
                <a:lnTo>
                  <a:pt x="667" y="7666"/>
                </a:lnTo>
                <a:lnTo>
                  <a:pt x="695" y="7659"/>
                </a:lnTo>
                <a:lnTo>
                  <a:pt x="695" y="7693"/>
                </a:lnTo>
                <a:lnTo>
                  <a:pt x="677" y="7738"/>
                </a:lnTo>
                <a:lnTo>
                  <a:pt x="672" y="7789"/>
                </a:lnTo>
                <a:lnTo>
                  <a:pt x="679" y="7797"/>
                </a:lnTo>
                <a:lnTo>
                  <a:pt x="670" y="7849"/>
                </a:lnTo>
                <a:lnTo>
                  <a:pt x="664" y="7911"/>
                </a:lnTo>
                <a:lnTo>
                  <a:pt x="642" y="8002"/>
                </a:lnTo>
                <a:lnTo>
                  <a:pt x="659" y="8016"/>
                </a:lnTo>
                <a:lnTo>
                  <a:pt x="689" y="7910"/>
                </a:lnTo>
                <a:lnTo>
                  <a:pt x="700" y="7842"/>
                </a:lnTo>
                <a:lnTo>
                  <a:pt x="717" y="7817"/>
                </a:lnTo>
                <a:lnTo>
                  <a:pt x="727" y="7741"/>
                </a:lnTo>
                <a:lnTo>
                  <a:pt x="752" y="7681"/>
                </a:lnTo>
                <a:lnTo>
                  <a:pt x="757" y="7646"/>
                </a:lnTo>
                <a:lnTo>
                  <a:pt x="786" y="7536"/>
                </a:lnTo>
                <a:lnTo>
                  <a:pt x="806" y="7423"/>
                </a:lnTo>
                <a:lnTo>
                  <a:pt x="799" y="7422"/>
                </a:lnTo>
                <a:lnTo>
                  <a:pt x="833" y="7284"/>
                </a:lnTo>
                <a:lnTo>
                  <a:pt x="855" y="7193"/>
                </a:lnTo>
                <a:lnTo>
                  <a:pt x="844" y="7186"/>
                </a:lnTo>
                <a:lnTo>
                  <a:pt x="814" y="7290"/>
                </a:lnTo>
                <a:lnTo>
                  <a:pt x="793" y="7324"/>
                </a:lnTo>
                <a:lnTo>
                  <a:pt x="752" y="7430"/>
                </a:lnTo>
                <a:lnTo>
                  <a:pt x="751" y="7400"/>
                </a:lnTo>
                <a:lnTo>
                  <a:pt x="779" y="7284"/>
                </a:lnTo>
                <a:lnTo>
                  <a:pt x="818" y="7139"/>
                </a:lnTo>
                <a:close/>
                <a:moveTo>
                  <a:pt x="7418" y="7376"/>
                </a:moveTo>
                <a:lnTo>
                  <a:pt x="7299" y="7430"/>
                </a:lnTo>
                <a:lnTo>
                  <a:pt x="7373" y="7565"/>
                </a:lnTo>
                <a:lnTo>
                  <a:pt x="7338" y="7607"/>
                </a:lnTo>
                <a:lnTo>
                  <a:pt x="7222" y="7545"/>
                </a:lnTo>
                <a:lnTo>
                  <a:pt x="7273" y="7721"/>
                </a:lnTo>
                <a:lnTo>
                  <a:pt x="7164" y="7731"/>
                </a:lnTo>
                <a:lnTo>
                  <a:pt x="7278" y="7917"/>
                </a:lnTo>
                <a:lnTo>
                  <a:pt x="7334" y="8004"/>
                </a:lnTo>
                <a:lnTo>
                  <a:pt x="7406" y="8019"/>
                </a:lnTo>
                <a:lnTo>
                  <a:pt x="7658" y="8051"/>
                </a:lnTo>
                <a:lnTo>
                  <a:pt x="7822" y="7994"/>
                </a:lnTo>
                <a:lnTo>
                  <a:pt x="7832" y="7842"/>
                </a:lnTo>
                <a:lnTo>
                  <a:pt x="7919" y="7757"/>
                </a:lnTo>
                <a:lnTo>
                  <a:pt x="7835" y="7677"/>
                </a:lnTo>
                <a:lnTo>
                  <a:pt x="7683" y="7684"/>
                </a:lnTo>
                <a:lnTo>
                  <a:pt x="7651" y="7588"/>
                </a:lnTo>
                <a:lnTo>
                  <a:pt x="7504" y="7595"/>
                </a:lnTo>
                <a:lnTo>
                  <a:pt x="7512" y="7428"/>
                </a:lnTo>
                <a:lnTo>
                  <a:pt x="7418" y="7376"/>
                </a:lnTo>
                <a:close/>
                <a:moveTo>
                  <a:pt x="533" y="8076"/>
                </a:moveTo>
                <a:lnTo>
                  <a:pt x="503" y="8134"/>
                </a:lnTo>
                <a:cubicBezTo>
                  <a:pt x="468" y="8339"/>
                  <a:pt x="438" y="8523"/>
                  <a:pt x="491" y="8743"/>
                </a:cubicBezTo>
                <a:cubicBezTo>
                  <a:pt x="531" y="8908"/>
                  <a:pt x="531" y="8878"/>
                  <a:pt x="531" y="8878"/>
                </a:cubicBezTo>
                <a:cubicBezTo>
                  <a:pt x="531" y="8878"/>
                  <a:pt x="561" y="9039"/>
                  <a:pt x="593" y="8994"/>
                </a:cubicBezTo>
                <a:lnTo>
                  <a:pt x="623" y="8807"/>
                </a:lnTo>
                <a:lnTo>
                  <a:pt x="655" y="8659"/>
                </a:lnTo>
                <a:lnTo>
                  <a:pt x="629" y="8655"/>
                </a:lnTo>
                <a:lnTo>
                  <a:pt x="642" y="8480"/>
                </a:lnTo>
                <a:lnTo>
                  <a:pt x="613" y="8448"/>
                </a:lnTo>
                <a:lnTo>
                  <a:pt x="562" y="8496"/>
                </a:lnTo>
                <a:lnTo>
                  <a:pt x="525" y="8492"/>
                </a:lnTo>
                <a:lnTo>
                  <a:pt x="533" y="8413"/>
                </a:lnTo>
                <a:lnTo>
                  <a:pt x="558" y="8406"/>
                </a:lnTo>
                <a:lnTo>
                  <a:pt x="588" y="8272"/>
                </a:lnTo>
                <a:lnTo>
                  <a:pt x="575" y="8270"/>
                </a:lnTo>
                <a:lnTo>
                  <a:pt x="582" y="8147"/>
                </a:lnTo>
                <a:lnTo>
                  <a:pt x="560" y="8182"/>
                </a:lnTo>
                <a:lnTo>
                  <a:pt x="550" y="8142"/>
                </a:lnTo>
                <a:lnTo>
                  <a:pt x="528" y="8129"/>
                </a:lnTo>
                <a:lnTo>
                  <a:pt x="533" y="8076"/>
                </a:lnTo>
                <a:close/>
                <a:moveTo>
                  <a:pt x="629" y="8196"/>
                </a:moveTo>
                <a:lnTo>
                  <a:pt x="603" y="8246"/>
                </a:lnTo>
                <a:lnTo>
                  <a:pt x="598" y="8329"/>
                </a:lnTo>
                <a:lnTo>
                  <a:pt x="592" y="8438"/>
                </a:lnTo>
                <a:lnTo>
                  <a:pt x="603" y="8452"/>
                </a:lnTo>
                <a:lnTo>
                  <a:pt x="617" y="8405"/>
                </a:lnTo>
                <a:lnTo>
                  <a:pt x="627" y="8322"/>
                </a:lnTo>
                <a:lnTo>
                  <a:pt x="637" y="8203"/>
                </a:lnTo>
                <a:lnTo>
                  <a:pt x="629" y="8196"/>
                </a:lnTo>
                <a:close/>
                <a:moveTo>
                  <a:pt x="21143" y="8294"/>
                </a:moveTo>
                <a:cubicBezTo>
                  <a:pt x="21150" y="8324"/>
                  <a:pt x="21160" y="8353"/>
                  <a:pt x="21167" y="8383"/>
                </a:cubicBezTo>
                <a:lnTo>
                  <a:pt x="21160" y="8371"/>
                </a:lnTo>
                <a:lnTo>
                  <a:pt x="21150" y="8341"/>
                </a:lnTo>
                <a:lnTo>
                  <a:pt x="21143" y="8294"/>
                </a:lnTo>
                <a:close/>
                <a:moveTo>
                  <a:pt x="21175" y="8489"/>
                </a:moveTo>
                <a:lnTo>
                  <a:pt x="21223" y="8698"/>
                </a:lnTo>
                <a:lnTo>
                  <a:pt x="21197" y="8605"/>
                </a:lnTo>
                <a:lnTo>
                  <a:pt x="21210" y="8694"/>
                </a:lnTo>
                <a:lnTo>
                  <a:pt x="21233" y="8773"/>
                </a:lnTo>
                <a:lnTo>
                  <a:pt x="21247" y="8841"/>
                </a:lnTo>
                <a:lnTo>
                  <a:pt x="21257" y="8891"/>
                </a:lnTo>
                <a:lnTo>
                  <a:pt x="21235" y="8812"/>
                </a:lnTo>
                <a:lnTo>
                  <a:pt x="21233" y="8836"/>
                </a:lnTo>
                <a:lnTo>
                  <a:pt x="21220" y="8755"/>
                </a:lnTo>
                <a:lnTo>
                  <a:pt x="21197" y="8642"/>
                </a:lnTo>
                <a:lnTo>
                  <a:pt x="21182" y="8597"/>
                </a:lnTo>
                <a:lnTo>
                  <a:pt x="21193" y="8691"/>
                </a:lnTo>
                <a:lnTo>
                  <a:pt x="21192" y="8750"/>
                </a:lnTo>
                <a:lnTo>
                  <a:pt x="21207" y="8775"/>
                </a:lnTo>
                <a:lnTo>
                  <a:pt x="21227" y="8839"/>
                </a:lnTo>
                <a:lnTo>
                  <a:pt x="21235" y="8861"/>
                </a:lnTo>
                <a:lnTo>
                  <a:pt x="21239" y="8943"/>
                </a:lnTo>
                <a:lnTo>
                  <a:pt x="21257" y="9011"/>
                </a:lnTo>
                <a:lnTo>
                  <a:pt x="21262" y="9098"/>
                </a:lnTo>
                <a:lnTo>
                  <a:pt x="21247" y="9093"/>
                </a:lnTo>
                <a:lnTo>
                  <a:pt x="21257" y="9147"/>
                </a:lnTo>
                <a:lnTo>
                  <a:pt x="21272" y="9140"/>
                </a:lnTo>
                <a:lnTo>
                  <a:pt x="21280" y="9049"/>
                </a:lnTo>
                <a:lnTo>
                  <a:pt x="21270" y="8933"/>
                </a:lnTo>
                <a:lnTo>
                  <a:pt x="21264" y="8889"/>
                </a:lnTo>
                <a:lnTo>
                  <a:pt x="21269" y="8878"/>
                </a:lnTo>
                <a:lnTo>
                  <a:pt x="21254" y="8799"/>
                </a:lnTo>
                <a:lnTo>
                  <a:pt x="21228" y="8687"/>
                </a:lnTo>
                <a:lnTo>
                  <a:pt x="21210" y="8600"/>
                </a:lnTo>
                <a:lnTo>
                  <a:pt x="21175" y="8489"/>
                </a:lnTo>
                <a:close/>
                <a:moveTo>
                  <a:pt x="20899" y="8691"/>
                </a:moveTo>
                <a:lnTo>
                  <a:pt x="20890" y="8743"/>
                </a:lnTo>
                <a:lnTo>
                  <a:pt x="20905" y="8895"/>
                </a:lnTo>
                <a:lnTo>
                  <a:pt x="20925" y="8825"/>
                </a:lnTo>
                <a:lnTo>
                  <a:pt x="20922" y="8760"/>
                </a:lnTo>
                <a:lnTo>
                  <a:pt x="20917" y="8691"/>
                </a:lnTo>
                <a:lnTo>
                  <a:pt x="20899" y="8691"/>
                </a:lnTo>
                <a:close/>
                <a:moveTo>
                  <a:pt x="21148" y="9029"/>
                </a:moveTo>
                <a:lnTo>
                  <a:pt x="21125" y="9058"/>
                </a:lnTo>
                <a:lnTo>
                  <a:pt x="21165" y="9139"/>
                </a:lnTo>
                <a:lnTo>
                  <a:pt x="21200" y="9255"/>
                </a:lnTo>
                <a:lnTo>
                  <a:pt x="21222" y="9347"/>
                </a:lnTo>
                <a:lnTo>
                  <a:pt x="21247" y="9447"/>
                </a:lnTo>
                <a:lnTo>
                  <a:pt x="21244" y="9352"/>
                </a:lnTo>
                <a:lnTo>
                  <a:pt x="21197" y="9162"/>
                </a:lnTo>
                <a:lnTo>
                  <a:pt x="21148" y="9029"/>
                </a:lnTo>
                <a:close/>
                <a:moveTo>
                  <a:pt x="21240" y="9160"/>
                </a:moveTo>
                <a:lnTo>
                  <a:pt x="21279" y="9342"/>
                </a:lnTo>
                <a:lnTo>
                  <a:pt x="21304" y="9506"/>
                </a:lnTo>
                <a:lnTo>
                  <a:pt x="21324" y="9681"/>
                </a:lnTo>
                <a:lnTo>
                  <a:pt x="21346" y="9829"/>
                </a:lnTo>
                <a:lnTo>
                  <a:pt x="21314" y="9527"/>
                </a:lnTo>
                <a:lnTo>
                  <a:pt x="21290" y="9376"/>
                </a:lnTo>
                <a:lnTo>
                  <a:pt x="21267" y="9218"/>
                </a:lnTo>
                <a:lnTo>
                  <a:pt x="21240" y="9160"/>
                </a:lnTo>
                <a:close/>
                <a:moveTo>
                  <a:pt x="7800" y="9401"/>
                </a:moveTo>
                <a:lnTo>
                  <a:pt x="7666" y="9502"/>
                </a:lnTo>
                <a:lnTo>
                  <a:pt x="7547" y="9659"/>
                </a:lnTo>
                <a:lnTo>
                  <a:pt x="7547" y="9768"/>
                </a:lnTo>
                <a:lnTo>
                  <a:pt x="7472" y="9931"/>
                </a:lnTo>
                <a:lnTo>
                  <a:pt x="7559" y="9878"/>
                </a:lnTo>
                <a:lnTo>
                  <a:pt x="7565" y="9940"/>
                </a:lnTo>
                <a:lnTo>
                  <a:pt x="7497" y="9997"/>
                </a:lnTo>
                <a:lnTo>
                  <a:pt x="7497" y="10054"/>
                </a:lnTo>
                <a:lnTo>
                  <a:pt x="7596" y="10140"/>
                </a:lnTo>
                <a:lnTo>
                  <a:pt x="7611" y="10278"/>
                </a:lnTo>
                <a:lnTo>
                  <a:pt x="7554" y="10371"/>
                </a:lnTo>
                <a:lnTo>
                  <a:pt x="7418" y="10287"/>
                </a:lnTo>
                <a:lnTo>
                  <a:pt x="7348" y="10388"/>
                </a:lnTo>
                <a:lnTo>
                  <a:pt x="7360" y="10505"/>
                </a:lnTo>
                <a:lnTo>
                  <a:pt x="7234" y="10507"/>
                </a:lnTo>
                <a:lnTo>
                  <a:pt x="7231" y="10588"/>
                </a:lnTo>
                <a:lnTo>
                  <a:pt x="7375" y="10694"/>
                </a:lnTo>
                <a:lnTo>
                  <a:pt x="7269" y="10687"/>
                </a:lnTo>
                <a:lnTo>
                  <a:pt x="7040" y="10788"/>
                </a:lnTo>
                <a:lnTo>
                  <a:pt x="7078" y="10850"/>
                </a:lnTo>
                <a:lnTo>
                  <a:pt x="7179" y="10822"/>
                </a:lnTo>
                <a:lnTo>
                  <a:pt x="7266" y="10889"/>
                </a:lnTo>
                <a:lnTo>
                  <a:pt x="7368" y="10842"/>
                </a:lnTo>
                <a:lnTo>
                  <a:pt x="7401" y="10898"/>
                </a:lnTo>
                <a:lnTo>
                  <a:pt x="7599" y="10930"/>
                </a:lnTo>
                <a:lnTo>
                  <a:pt x="7738" y="10992"/>
                </a:lnTo>
                <a:lnTo>
                  <a:pt x="7867" y="10938"/>
                </a:lnTo>
                <a:lnTo>
                  <a:pt x="7858" y="10830"/>
                </a:lnTo>
                <a:lnTo>
                  <a:pt x="7929" y="10800"/>
                </a:lnTo>
                <a:lnTo>
                  <a:pt x="7982" y="10692"/>
                </a:lnTo>
                <a:lnTo>
                  <a:pt x="7872" y="10610"/>
                </a:lnTo>
                <a:lnTo>
                  <a:pt x="7870" y="10529"/>
                </a:lnTo>
                <a:lnTo>
                  <a:pt x="7887" y="10305"/>
                </a:lnTo>
                <a:lnTo>
                  <a:pt x="7833" y="10248"/>
                </a:lnTo>
                <a:lnTo>
                  <a:pt x="7837" y="9987"/>
                </a:lnTo>
                <a:lnTo>
                  <a:pt x="7748" y="9931"/>
                </a:lnTo>
                <a:lnTo>
                  <a:pt x="7897" y="9815"/>
                </a:lnTo>
                <a:lnTo>
                  <a:pt x="7982" y="9687"/>
                </a:lnTo>
                <a:lnTo>
                  <a:pt x="7887" y="9642"/>
                </a:lnTo>
                <a:lnTo>
                  <a:pt x="7788" y="9622"/>
                </a:lnTo>
                <a:lnTo>
                  <a:pt x="7967" y="9484"/>
                </a:lnTo>
                <a:lnTo>
                  <a:pt x="7858" y="9448"/>
                </a:lnTo>
                <a:lnTo>
                  <a:pt x="7800" y="9401"/>
                </a:lnTo>
                <a:close/>
                <a:moveTo>
                  <a:pt x="20753" y="9539"/>
                </a:moveTo>
                <a:lnTo>
                  <a:pt x="20740" y="9618"/>
                </a:lnTo>
                <a:lnTo>
                  <a:pt x="20733" y="9805"/>
                </a:lnTo>
                <a:lnTo>
                  <a:pt x="20748" y="9925"/>
                </a:lnTo>
                <a:lnTo>
                  <a:pt x="20800" y="10014"/>
                </a:lnTo>
                <a:lnTo>
                  <a:pt x="20838" y="9930"/>
                </a:lnTo>
                <a:lnTo>
                  <a:pt x="20830" y="9753"/>
                </a:lnTo>
                <a:lnTo>
                  <a:pt x="20800" y="9657"/>
                </a:lnTo>
                <a:lnTo>
                  <a:pt x="20782" y="9548"/>
                </a:lnTo>
                <a:lnTo>
                  <a:pt x="20753" y="9539"/>
                </a:lnTo>
                <a:close/>
                <a:moveTo>
                  <a:pt x="21269" y="9553"/>
                </a:moveTo>
                <a:lnTo>
                  <a:pt x="21277" y="9645"/>
                </a:lnTo>
                <a:lnTo>
                  <a:pt x="21300" y="9729"/>
                </a:lnTo>
                <a:lnTo>
                  <a:pt x="21310" y="9713"/>
                </a:lnTo>
                <a:lnTo>
                  <a:pt x="21280" y="9554"/>
                </a:lnTo>
                <a:lnTo>
                  <a:pt x="21269" y="9553"/>
                </a:lnTo>
                <a:close/>
                <a:moveTo>
                  <a:pt x="7279" y="9866"/>
                </a:moveTo>
                <a:lnTo>
                  <a:pt x="7172" y="9904"/>
                </a:lnTo>
                <a:lnTo>
                  <a:pt x="6983" y="9960"/>
                </a:lnTo>
                <a:lnTo>
                  <a:pt x="6939" y="10155"/>
                </a:lnTo>
                <a:lnTo>
                  <a:pt x="6772" y="10280"/>
                </a:lnTo>
                <a:lnTo>
                  <a:pt x="6891" y="10384"/>
                </a:lnTo>
                <a:lnTo>
                  <a:pt x="7108" y="10383"/>
                </a:lnTo>
                <a:lnTo>
                  <a:pt x="7254" y="10271"/>
                </a:lnTo>
                <a:lnTo>
                  <a:pt x="7298" y="10144"/>
                </a:lnTo>
                <a:lnTo>
                  <a:pt x="7403" y="10056"/>
                </a:lnTo>
                <a:lnTo>
                  <a:pt x="7358" y="9899"/>
                </a:lnTo>
                <a:lnTo>
                  <a:pt x="7279" y="9866"/>
                </a:lnTo>
                <a:close/>
                <a:moveTo>
                  <a:pt x="21413" y="9962"/>
                </a:moveTo>
                <a:cubicBezTo>
                  <a:pt x="21414" y="9976"/>
                  <a:pt x="21415" y="9990"/>
                  <a:pt x="21416" y="10004"/>
                </a:cubicBezTo>
                <a:lnTo>
                  <a:pt x="21414" y="9997"/>
                </a:lnTo>
                <a:lnTo>
                  <a:pt x="21413" y="9962"/>
                </a:lnTo>
                <a:close/>
                <a:moveTo>
                  <a:pt x="21172" y="10078"/>
                </a:moveTo>
                <a:lnTo>
                  <a:pt x="21177" y="10164"/>
                </a:lnTo>
                <a:lnTo>
                  <a:pt x="21197" y="10367"/>
                </a:lnTo>
                <a:lnTo>
                  <a:pt x="21210" y="10524"/>
                </a:lnTo>
                <a:lnTo>
                  <a:pt x="21203" y="10704"/>
                </a:lnTo>
                <a:lnTo>
                  <a:pt x="21215" y="10857"/>
                </a:lnTo>
                <a:lnTo>
                  <a:pt x="21222" y="10862"/>
                </a:lnTo>
                <a:lnTo>
                  <a:pt x="21230" y="10812"/>
                </a:lnTo>
                <a:lnTo>
                  <a:pt x="21240" y="10680"/>
                </a:lnTo>
                <a:lnTo>
                  <a:pt x="21228" y="10489"/>
                </a:lnTo>
                <a:lnTo>
                  <a:pt x="21232" y="10445"/>
                </a:lnTo>
                <a:lnTo>
                  <a:pt x="21215" y="10290"/>
                </a:lnTo>
                <a:lnTo>
                  <a:pt x="21195" y="10182"/>
                </a:lnTo>
                <a:lnTo>
                  <a:pt x="21188" y="10122"/>
                </a:lnTo>
                <a:lnTo>
                  <a:pt x="21172" y="10078"/>
                </a:lnTo>
                <a:close/>
                <a:moveTo>
                  <a:pt x="9248" y="10413"/>
                </a:moveTo>
                <a:lnTo>
                  <a:pt x="9087" y="10440"/>
                </a:lnTo>
                <a:lnTo>
                  <a:pt x="9084" y="10519"/>
                </a:lnTo>
                <a:lnTo>
                  <a:pt x="9167" y="10649"/>
                </a:lnTo>
                <a:lnTo>
                  <a:pt x="9261" y="10512"/>
                </a:lnTo>
                <a:lnTo>
                  <a:pt x="9248" y="10413"/>
                </a:lnTo>
                <a:close/>
                <a:moveTo>
                  <a:pt x="21295" y="10714"/>
                </a:moveTo>
                <a:lnTo>
                  <a:pt x="21284" y="10795"/>
                </a:lnTo>
                <a:lnTo>
                  <a:pt x="21300" y="11054"/>
                </a:lnTo>
                <a:lnTo>
                  <a:pt x="21319" y="11243"/>
                </a:lnTo>
                <a:lnTo>
                  <a:pt x="21329" y="11204"/>
                </a:lnTo>
                <a:lnTo>
                  <a:pt x="21326" y="11061"/>
                </a:lnTo>
                <a:lnTo>
                  <a:pt x="21310" y="10999"/>
                </a:lnTo>
                <a:lnTo>
                  <a:pt x="21302" y="10889"/>
                </a:lnTo>
                <a:lnTo>
                  <a:pt x="21295" y="10714"/>
                </a:lnTo>
                <a:close/>
                <a:moveTo>
                  <a:pt x="21438" y="11211"/>
                </a:moveTo>
                <a:cubicBezTo>
                  <a:pt x="21437" y="11239"/>
                  <a:pt x="21434" y="11268"/>
                  <a:pt x="21433" y="11297"/>
                </a:cubicBezTo>
                <a:lnTo>
                  <a:pt x="21431" y="11307"/>
                </a:lnTo>
                <a:lnTo>
                  <a:pt x="21438" y="11211"/>
                </a:lnTo>
                <a:close/>
                <a:moveTo>
                  <a:pt x="21275" y="11238"/>
                </a:moveTo>
                <a:lnTo>
                  <a:pt x="21267" y="11275"/>
                </a:lnTo>
                <a:lnTo>
                  <a:pt x="21270" y="11340"/>
                </a:lnTo>
                <a:lnTo>
                  <a:pt x="21304" y="11467"/>
                </a:lnTo>
                <a:lnTo>
                  <a:pt x="21302" y="11305"/>
                </a:lnTo>
                <a:lnTo>
                  <a:pt x="21289" y="11258"/>
                </a:lnTo>
                <a:lnTo>
                  <a:pt x="21275" y="11238"/>
                </a:lnTo>
                <a:close/>
                <a:moveTo>
                  <a:pt x="21342" y="11345"/>
                </a:moveTo>
                <a:lnTo>
                  <a:pt x="21329" y="11352"/>
                </a:lnTo>
                <a:lnTo>
                  <a:pt x="21329" y="11549"/>
                </a:lnTo>
                <a:lnTo>
                  <a:pt x="21326" y="11669"/>
                </a:lnTo>
                <a:lnTo>
                  <a:pt x="21326" y="11749"/>
                </a:lnTo>
                <a:lnTo>
                  <a:pt x="21342" y="11637"/>
                </a:lnTo>
                <a:lnTo>
                  <a:pt x="21342" y="11552"/>
                </a:lnTo>
                <a:lnTo>
                  <a:pt x="21351" y="11473"/>
                </a:lnTo>
                <a:lnTo>
                  <a:pt x="21342" y="11448"/>
                </a:lnTo>
                <a:lnTo>
                  <a:pt x="21342" y="11345"/>
                </a:lnTo>
                <a:close/>
                <a:moveTo>
                  <a:pt x="13977" y="11692"/>
                </a:moveTo>
                <a:lnTo>
                  <a:pt x="14034" y="11791"/>
                </a:lnTo>
                <a:lnTo>
                  <a:pt x="14071" y="11970"/>
                </a:lnTo>
                <a:lnTo>
                  <a:pt x="13958" y="11985"/>
                </a:lnTo>
                <a:lnTo>
                  <a:pt x="13866" y="12051"/>
                </a:lnTo>
                <a:lnTo>
                  <a:pt x="13901" y="12180"/>
                </a:lnTo>
                <a:lnTo>
                  <a:pt x="13778" y="12207"/>
                </a:lnTo>
                <a:lnTo>
                  <a:pt x="13798" y="12263"/>
                </a:lnTo>
                <a:lnTo>
                  <a:pt x="13880" y="12283"/>
                </a:lnTo>
                <a:lnTo>
                  <a:pt x="13982" y="12419"/>
                </a:lnTo>
                <a:lnTo>
                  <a:pt x="14144" y="12423"/>
                </a:lnTo>
                <a:lnTo>
                  <a:pt x="14188" y="12475"/>
                </a:lnTo>
                <a:lnTo>
                  <a:pt x="14179" y="12559"/>
                </a:lnTo>
                <a:lnTo>
                  <a:pt x="14199" y="12598"/>
                </a:lnTo>
                <a:lnTo>
                  <a:pt x="14273" y="12694"/>
                </a:lnTo>
                <a:lnTo>
                  <a:pt x="14246" y="12562"/>
                </a:lnTo>
                <a:lnTo>
                  <a:pt x="14332" y="12478"/>
                </a:lnTo>
                <a:lnTo>
                  <a:pt x="14400" y="12561"/>
                </a:lnTo>
                <a:lnTo>
                  <a:pt x="14526" y="12625"/>
                </a:lnTo>
                <a:lnTo>
                  <a:pt x="14432" y="12726"/>
                </a:lnTo>
                <a:lnTo>
                  <a:pt x="14300" y="12732"/>
                </a:lnTo>
                <a:lnTo>
                  <a:pt x="14315" y="12889"/>
                </a:lnTo>
                <a:lnTo>
                  <a:pt x="14404" y="12864"/>
                </a:lnTo>
                <a:lnTo>
                  <a:pt x="14407" y="12995"/>
                </a:lnTo>
                <a:lnTo>
                  <a:pt x="14526" y="13010"/>
                </a:lnTo>
                <a:lnTo>
                  <a:pt x="14561" y="13195"/>
                </a:lnTo>
                <a:lnTo>
                  <a:pt x="14623" y="13305"/>
                </a:lnTo>
                <a:lnTo>
                  <a:pt x="14621" y="13349"/>
                </a:lnTo>
                <a:lnTo>
                  <a:pt x="14424" y="13478"/>
                </a:lnTo>
                <a:lnTo>
                  <a:pt x="14223" y="13522"/>
                </a:lnTo>
                <a:lnTo>
                  <a:pt x="14106" y="13470"/>
                </a:lnTo>
                <a:lnTo>
                  <a:pt x="13967" y="13480"/>
                </a:lnTo>
                <a:lnTo>
                  <a:pt x="13891" y="13367"/>
                </a:lnTo>
                <a:lnTo>
                  <a:pt x="13866" y="13283"/>
                </a:lnTo>
                <a:lnTo>
                  <a:pt x="13905" y="13226"/>
                </a:lnTo>
                <a:lnTo>
                  <a:pt x="13913" y="13157"/>
                </a:lnTo>
                <a:lnTo>
                  <a:pt x="13901" y="13015"/>
                </a:lnTo>
                <a:lnTo>
                  <a:pt x="14005" y="12963"/>
                </a:lnTo>
                <a:lnTo>
                  <a:pt x="13952" y="12931"/>
                </a:lnTo>
                <a:lnTo>
                  <a:pt x="13888" y="12943"/>
                </a:lnTo>
                <a:lnTo>
                  <a:pt x="13789" y="12842"/>
                </a:lnTo>
                <a:lnTo>
                  <a:pt x="13697" y="12773"/>
                </a:lnTo>
                <a:lnTo>
                  <a:pt x="13503" y="12610"/>
                </a:lnTo>
                <a:lnTo>
                  <a:pt x="13485" y="12487"/>
                </a:lnTo>
                <a:lnTo>
                  <a:pt x="13329" y="12354"/>
                </a:lnTo>
                <a:lnTo>
                  <a:pt x="13404" y="12131"/>
                </a:lnTo>
                <a:lnTo>
                  <a:pt x="13515" y="12066"/>
                </a:lnTo>
                <a:lnTo>
                  <a:pt x="13540" y="11941"/>
                </a:lnTo>
                <a:lnTo>
                  <a:pt x="13640" y="11867"/>
                </a:lnTo>
                <a:lnTo>
                  <a:pt x="13752" y="11741"/>
                </a:lnTo>
                <a:lnTo>
                  <a:pt x="13865" y="11746"/>
                </a:lnTo>
                <a:lnTo>
                  <a:pt x="13977" y="11692"/>
                </a:lnTo>
                <a:close/>
                <a:moveTo>
                  <a:pt x="8387" y="12712"/>
                </a:moveTo>
                <a:lnTo>
                  <a:pt x="8289" y="12758"/>
                </a:lnTo>
                <a:lnTo>
                  <a:pt x="8248" y="12817"/>
                </a:lnTo>
                <a:lnTo>
                  <a:pt x="8252" y="12945"/>
                </a:lnTo>
                <a:lnTo>
                  <a:pt x="8305" y="12997"/>
                </a:lnTo>
                <a:lnTo>
                  <a:pt x="8377" y="12870"/>
                </a:lnTo>
                <a:lnTo>
                  <a:pt x="8387" y="12712"/>
                </a:lnTo>
                <a:close/>
                <a:moveTo>
                  <a:pt x="8295" y="13025"/>
                </a:moveTo>
                <a:lnTo>
                  <a:pt x="8217" y="13062"/>
                </a:lnTo>
                <a:lnTo>
                  <a:pt x="8145" y="13034"/>
                </a:lnTo>
                <a:lnTo>
                  <a:pt x="8153" y="13143"/>
                </a:lnTo>
                <a:lnTo>
                  <a:pt x="8113" y="13355"/>
                </a:lnTo>
                <a:lnTo>
                  <a:pt x="8156" y="13418"/>
                </a:lnTo>
                <a:lnTo>
                  <a:pt x="8223" y="13374"/>
                </a:lnTo>
                <a:lnTo>
                  <a:pt x="8285" y="13401"/>
                </a:lnTo>
                <a:lnTo>
                  <a:pt x="8351" y="13172"/>
                </a:lnTo>
                <a:lnTo>
                  <a:pt x="8295" y="13025"/>
                </a:lnTo>
                <a:close/>
                <a:moveTo>
                  <a:pt x="8659" y="13682"/>
                </a:moveTo>
                <a:lnTo>
                  <a:pt x="8623" y="13768"/>
                </a:lnTo>
                <a:lnTo>
                  <a:pt x="8811" y="13897"/>
                </a:lnTo>
                <a:lnTo>
                  <a:pt x="8883" y="13931"/>
                </a:lnTo>
                <a:lnTo>
                  <a:pt x="8987" y="14017"/>
                </a:lnTo>
                <a:lnTo>
                  <a:pt x="9029" y="13931"/>
                </a:lnTo>
                <a:lnTo>
                  <a:pt x="9013" y="13874"/>
                </a:lnTo>
                <a:lnTo>
                  <a:pt x="9084" y="13742"/>
                </a:lnTo>
                <a:lnTo>
                  <a:pt x="8973" y="13739"/>
                </a:lnTo>
                <a:lnTo>
                  <a:pt x="8824" y="13731"/>
                </a:lnTo>
                <a:lnTo>
                  <a:pt x="8659" y="13682"/>
                </a:lnTo>
                <a:close/>
                <a:moveTo>
                  <a:pt x="11906" y="14274"/>
                </a:moveTo>
                <a:lnTo>
                  <a:pt x="11772" y="14342"/>
                </a:lnTo>
                <a:lnTo>
                  <a:pt x="11663" y="14348"/>
                </a:lnTo>
                <a:lnTo>
                  <a:pt x="11645" y="14392"/>
                </a:lnTo>
                <a:lnTo>
                  <a:pt x="11633" y="14394"/>
                </a:lnTo>
                <a:lnTo>
                  <a:pt x="11561" y="14407"/>
                </a:lnTo>
                <a:lnTo>
                  <a:pt x="11601" y="14475"/>
                </a:lnTo>
                <a:lnTo>
                  <a:pt x="11677" y="14491"/>
                </a:lnTo>
                <a:lnTo>
                  <a:pt x="11829" y="14406"/>
                </a:lnTo>
                <a:lnTo>
                  <a:pt x="11824" y="14392"/>
                </a:lnTo>
                <a:lnTo>
                  <a:pt x="11809" y="14360"/>
                </a:lnTo>
                <a:lnTo>
                  <a:pt x="11906" y="14274"/>
                </a:lnTo>
                <a:close/>
                <a:moveTo>
                  <a:pt x="10257" y="14320"/>
                </a:moveTo>
                <a:lnTo>
                  <a:pt x="10227" y="14392"/>
                </a:lnTo>
                <a:lnTo>
                  <a:pt x="10413" y="14434"/>
                </a:lnTo>
                <a:lnTo>
                  <a:pt x="10410" y="14463"/>
                </a:lnTo>
                <a:lnTo>
                  <a:pt x="10631" y="14453"/>
                </a:lnTo>
                <a:lnTo>
                  <a:pt x="10651" y="14402"/>
                </a:lnTo>
                <a:lnTo>
                  <a:pt x="10567" y="14422"/>
                </a:lnTo>
                <a:lnTo>
                  <a:pt x="10570" y="14390"/>
                </a:lnTo>
                <a:lnTo>
                  <a:pt x="10458" y="14375"/>
                </a:lnTo>
                <a:lnTo>
                  <a:pt x="10339" y="14382"/>
                </a:lnTo>
                <a:lnTo>
                  <a:pt x="10257" y="14320"/>
                </a:lnTo>
                <a:close/>
                <a:moveTo>
                  <a:pt x="9382" y="14353"/>
                </a:moveTo>
                <a:lnTo>
                  <a:pt x="9353" y="14412"/>
                </a:lnTo>
                <a:lnTo>
                  <a:pt x="9315" y="14507"/>
                </a:lnTo>
                <a:lnTo>
                  <a:pt x="9338" y="14488"/>
                </a:lnTo>
                <a:lnTo>
                  <a:pt x="9390" y="14446"/>
                </a:lnTo>
                <a:lnTo>
                  <a:pt x="9434" y="14375"/>
                </a:lnTo>
                <a:lnTo>
                  <a:pt x="9382" y="14353"/>
                </a:lnTo>
                <a:close/>
                <a:moveTo>
                  <a:pt x="9191" y="14454"/>
                </a:moveTo>
                <a:lnTo>
                  <a:pt x="9152" y="14510"/>
                </a:lnTo>
                <a:lnTo>
                  <a:pt x="9111" y="14564"/>
                </a:lnTo>
                <a:lnTo>
                  <a:pt x="9040" y="14566"/>
                </a:lnTo>
                <a:lnTo>
                  <a:pt x="9101" y="14606"/>
                </a:lnTo>
                <a:lnTo>
                  <a:pt x="9166" y="14623"/>
                </a:lnTo>
                <a:lnTo>
                  <a:pt x="9219" y="14579"/>
                </a:lnTo>
                <a:lnTo>
                  <a:pt x="9231" y="14502"/>
                </a:lnTo>
                <a:lnTo>
                  <a:pt x="9191" y="14454"/>
                </a:lnTo>
                <a:close/>
                <a:moveTo>
                  <a:pt x="19285" y="14894"/>
                </a:moveTo>
                <a:lnTo>
                  <a:pt x="19196" y="14911"/>
                </a:lnTo>
                <a:lnTo>
                  <a:pt x="19183" y="15160"/>
                </a:lnTo>
                <a:lnTo>
                  <a:pt x="19230" y="15308"/>
                </a:lnTo>
                <a:lnTo>
                  <a:pt x="19297" y="15343"/>
                </a:lnTo>
                <a:lnTo>
                  <a:pt x="19389" y="15209"/>
                </a:lnTo>
                <a:lnTo>
                  <a:pt x="19429" y="15124"/>
                </a:lnTo>
                <a:lnTo>
                  <a:pt x="19426" y="14983"/>
                </a:lnTo>
                <a:lnTo>
                  <a:pt x="19352" y="14921"/>
                </a:lnTo>
                <a:lnTo>
                  <a:pt x="19285" y="14894"/>
                </a:lnTo>
                <a:close/>
                <a:moveTo>
                  <a:pt x="15580" y="19577"/>
                </a:moveTo>
                <a:lnTo>
                  <a:pt x="15512" y="19590"/>
                </a:lnTo>
                <a:lnTo>
                  <a:pt x="15368" y="19691"/>
                </a:lnTo>
                <a:lnTo>
                  <a:pt x="15416" y="19703"/>
                </a:lnTo>
                <a:lnTo>
                  <a:pt x="15468" y="19700"/>
                </a:lnTo>
                <a:lnTo>
                  <a:pt x="15493" y="19698"/>
                </a:lnTo>
                <a:lnTo>
                  <a:pt x="15524" y="19649"/>
                </a:lnTo>
                <a:lnTo>
                  <a:pt x="15596" y="19582"/>
                </a:lnTo>
                <a:lnTo>
                  <a:pt x="15580" y="19577"/>
                </a:lnTo>
                <a:close/>
                <a:moveTo>
                  <a:pt x="14712" y="20008"/>
                </a:moveTo>
                <a:lnTo>
                  <a:pt x="14650" y="20060"/>
                </a:lnTo>
                <a:lnTo>
                  <a:pt x="14636" y="20105"/>
                </a:lnTo>
                <a:lnTo>
                  <a:pt x="14533" y="20184"/>
                </a:lnTo>
                <a:lnTo>
                  <a:pt x="14462" y="20200"/>
                </a:lnTo>
                <a:lnTo>
                  <a:pt x="14479" y="20221"/>
                </a:lnTo>
                <a:lnTo>
                  <a:pt x="14420" y="20272"/>
                </a:lnTo>
                <a:lnTo>
                  <a:pt x="14271" y="20356"/>
                </a:lnTo>
                <a:lnTo>
                  <a:pt x="14164" y="20420"/>
                </a:lnTo>
                <a:lnTo>
                  <a:pt x="14089" y="20444"/>
                </a:lnTo>
                <a:lnTo>
                  <a:pt x="14024" y="20472"/>
                </a:lnTo>
                <a:lnTo>
                  <a:pt x="13925" y="20511"/>
                </a:lnTo>
                <a:lnTo>
                  <a:pt x="13840" y="20534"/>
                </a:lnTo>
                <a:lnTo>
                  <a:pt x="13806" y="20580"/>
                </a:lnTo>
                <a:lnTo>
                  <a:pt x="13737" y="20629"/>
                </a:lnTo>
                <a:lnTo>
                  <a:pt x="13736" y="20678"/>
                </a:lnTo>
                <a:lnTo>
                  <a:pt x="13758" y="20704"/>
                </a:lnTo>
                <a:lnTo>
                  <a:pt x="13788" y="20720"/>
                </a:lnTo>
                <a:lnTo>
                  <a:pt x="13761" y="20755"/>
                </a:lnTo>
                <a:lnTo>
                  <a:pt x="13667" y="20814"/>
                </a:lnTo>
                <a:lnTo>
                  <a:pt x="13659" y="20829"/>
                </a:lnTo>
                <a:lnTo>
                  <a:pt x="13580" y="20856"/>
                </a:lnTo>
                <a:lnTo>
                  <a:pt x="13535" y="20896"/>
                </a:lnTo>
                <a:lnTo>
                  <a:pt x="13537" y="20923"/>
                </a:lnTo>
                <a:lnTo>
                  <a:pt x="13578" y="20942"/>
                </a:lnTo>
                <a:lnTo>
                  <a:pt x="13570" y="20972"/>
                </a:lnTo>
                <a:lnTo>
                  <a:pt x="13602" y="20981"/>
                </a:lnTo>
                <a:lnTo>
                  <a:pt x="13722" y="20960"/>
                </a:lnTo>
                <a:lnTo>
                  <a:pt x="13808" y="20944"/>
                </a:lnTo>
                <a:lnTo>
                  <a:pt x="13958" y="20890"/>
                </a:lnTo>
                <a:lnTo>
                  <a:pt x="14094" y="20843"/>
                </a:lnTo>
                <a:lnTo>
                  <a:pt x="14198" y="20777"/>
                </a:lnTo>
                <a:lnTo>
                  <a:pt x="14295" y="20698"/>
                </a:lnTo>
                <a:lnTo>
                  <a:pt x="14440" y="20577"/>
                </a:lnTo>
                <a:lnTo>
                  <a:pt x="14554" y="20477"/>
                </a:lnTo>
                <a:lnTo>
                  <a:pt x="14645" y="20390"/>
                </a:lnTo>
                <a:lnTo>
                  <a:pt x="14673" y="20336"/>
                </a:lnTo>
                <a:lnTo>
                  <a:pt x="14723" y="20306"/>
                </a:lnTo>
                <a:lnTo>
                  <a:pt x="14747" y="20275"/>
                </a:lnTo>
                <a:lnTo>
                  <a:pt x="14730" y="20238"/>
                </a:lnTo>
                <a:lnTo>
                  <a:pt x="14767" y="20208"/>
                </a:lnTo>
                <a:lnTo>
                  <a:pt x="14812" y="20226"/>
                </a:lnTo>
                <a:lnTo>
                  <a:pt x="14847" y="20198"/>
                </a:lnTo>
                <a:lnTo>
                  <a:pt x="14872" y="20159"/>
                </a:lnTo>
                <a:lnTo>
                  <a:pt x="14839" y="20144"/>
                </a:lnTo>
                <a:lnTo>
                  <a:pt x="14832" y="20070"/>
                </a:lnTo>
                <a:lnTo>
                  <a:pt x="14802" y="20036"/>
                </a:lnTo>
                <a:lnTo>
                  <a:pt x="14765" y="20021"/>
                </a:lnTo>
                <a:lnTo>
                  <a:pt x="14712" y="20008"/>
                </a:lnTo>
                <a:close/>
              </a:path>
            </a:pathLst>
          </a:custGeom>
          <a:solidFill>
            <a:schemeClr val="accent2">
              <a:satOff val="-40580"/>
              <a:lumOff val="33529"/>
              <a:alpha val="26021"/>
            </a:schemeClr>
          </a:solidFill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  <p:txBody>
          <a:bodyPr wrap="square" lIns="91439" tIns="91439" rIns="91439" bIns="91439" numCol="1" anchor="ctr">
            <a:noAutofit/>
          </a:bodyPr>
          <a:lstStyle/>
          <a:p>
            <a:endParaRPr/>
          </a:p>
        </p:txBody>
      </p:sp>
      <p:sp>
        <p:nvSpPr>
          <p:cNvPr id="13" name="118 Rectángulo redondeado"/>
          <p:cNvSpPr/>
          <p:nvPr/>
        </p:nvSpPr>
        <p:spPr>
          <a:xfrm>
            <a:off x="6326358" y="2227997"/>
            <a:ext cx="1302930" cy="4724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91439" tIns="91439" rIns="91439" bIns="91439" numCol="1" anchor="ctr">
            <a:spAutoFit/>
          </a:bodyPr>
          <a:lstStyle/>
          <a:p>
            <a:pPr marR="13545" algn="r" defTabSz="914400">
              <a:lnSpc>
                <a:spcPct val="60000"/>
              </a:lnSpc>
              <a:spcBef>
                <a:spcPts val="3600"/>
              </a:spcBef>
              <a:defRPr sz="2800" b="1" spc="-14">
                <a:solidFill>
                  <a:schemeClr val="accent4"/>
                </a:solidFill>
              </a:defRPr>
            </a:pPr>
            <a:r>
              <a:rPr sz="2000" spc="-27" dirty="0"/>
              <a:t>c.</a:t>
            </a:r>
            <a:r>
              <a:rPr sz="2000" dirty="0"/>
              <a:t> </a:t>
            </a:r>
            <a:r>
              <a:rPr lang="es-ES_tradnl" sz="2000" spc="-27" dirty="0"/>
              <a:t>130</a:t>
            </a:r>
            <a:r>
              <a:rPr sz="2000" spc="-27" dirty="0"/>
              <a:t>,000</a:t>
            </a:r>
            <a:br>
              <a:rPr sz="2000" dirty="0"/>
            </a:br>
            <a:endParaRPr sz="1000" dirty="0"/>
          </a:p>
        </p:txBody>
      </p:sp>
      <p:sp>
        <p:nvSpPr>
          <p:cNvPr id="14" name="Rectangle"/>
          <p:cNvSpPr/>
          <p:nvPr/>
        </p:nvSpPr>
        <p:spPr>
          <a:xfrm>
            <a:off x="6482827" y="1904536"/>
            <a:ext cx="1126843" cy="328966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defTabSz="914400">
              <a:defRPr sz="1800">
                <a:solidFill>
                  <a:srgbClr val="000000"/>
                </a:solidFill>
              </a:defRPr>
            </a:pPr>
            <a:endParaRPr/>
          </a:p>
        </p:txBody>
      </p:sp>
      <p:sp>
        <p:nvSpPr>
          <p:cNvPr id="15" name="118 Rectángulo redondeado"/>
          <p:cNvSpPr/>
          <p:nvPr/>
        </p:nvSpPr>
        <p:spPr>
          <a:xfrm>
            <a:off x="6417843" y="1889640"/>
            <a:ext cx="1326623" cy="3908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91439" tIns="91439" rIns="91439" bIns="91439" numCol="1" anchor="ctr">
            <a:spAutoFit/>
          </a:bodyPr>
          <a:lstStyle>
            <a:lvl1pPr marR="13545" algn="ctr" defTabSz="914400">
              <a:lnSpc>
                <a:spcPct val="60000"/>
              </a:lnSpc>
              <a:defRPr sz="4800" b="1" spc="-24">
                <a:solidFill>
                  <a:srgbClr val="FFFFFF"/>
                </a:solidFill>
              </a:defRPr>
            </a:lvl1pPr>
          </a:lstStyle>
          <a:p>
            <a:pPr>
              <a:defRPr sz="3500" spc="-17"/>
            </a:pPr>
            <a:r>
              <a:rPr lang="es-ES_tradnl" sz="2000" dirty="0" err="1"/>
              <a:t>Apr</a:t>
            </a:r>
            <a:r>
              <a:rPr lang="es-ES_tradnl" sz="2000" dirty="0"/>
              <a:t>.</a:t>
            </a:r>
            <a:r>
              <a:rPr lang="es-ES_tradnl" sz="2000" spc="-24" dirty="0"/>
              <a:t> </a:t>
            </a:r>
            <a:r>
              <a:rPr sz="2000" spc="-24" dirty="0"/>
              <a:t>202</a:t>
            </a:r>
            <a:r>
              <a:rPr lang="es-ES_tradnl" sz="2000" spc="-24" dirty="0"/>
              <a:t>2</a:t>
            </a:r>
            <a:endParaRPr sz="2000" spc="-24" dirty="0"/>
          </a:p>
        </p:txBody>
      </p:sp>
      <p:pic>
        <p:nvPicPr>
          <p:cNvPr id="16" name="Imatge" descr="Imatge"/>
          <p:cNvPicPr>
            <a:picLocks noChangeAspect="1"/>
          </p:cNvPicPr>
          <p:nvPr/>
        </p:nvPicPr>
        <p:blipFill>
          <a:blip r:embed="rId3"/>
          <a:srcRect r="24190"/>
          <a:stretch>
            <a:fillRect/>
          </a:stretch>
        </p:blipFill>
        <p:spPr>
          <a:xfrm>
            <a:off x="734461" y="2263945"/>
            <a:ext cx="230844" cy="18270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35" name="118 Rectángulo redondeado"/>
          <p:cNvSpPr/>
          <p:nvPr/>
        </p:nvSpPr>
        <p:spPr>
          <a:xfrm>
            <a:off x="3344226" y="1632973"/>
            <a:ext cx="1979818" cy="92698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91439" tIns="91439" rIns="91439" bIns="91439" numCol="1" anchor="ctr">
            <a:spAutoFit/>
          </a:bodyPr>
          <a:lstStyle>
            <a:lvl1pPr marR="13545" defTabSz="914400">
              <a:lnSpc>
                <a:spcPct val="60000"/>
              </a:lnSpc>
              <a:defRPr sz="20000" b="1" spc="-100">
                <a:solidFill>
                  <a:schemeClr val="accent1">
                    <a:lumOff val="-5137"/>
                  </a:schemeClr>
                </a:solidFill>
              </a:defRPr>
            </a:lvl1pPr>
          </a:lstStyle>
          <a:p>
            <a:r>
              <a:rPr sz="7200" dirty="0"/>
              <a:t>x</a:t>
            </a:r>
            <a:r>
              <a:rPr lang="es-ES_tradnl" sz="7200" dirty="0"/>
              <a:t>18</a:t>
            </a:r>
            <a:endParaRPr sz="7200" dirty="0"/>
          </a:p>
        </p:txBody>
      </p:sp>
      <p:sp>
        <p:nvSpPr>
          <p:cNvPr id="36" name="Línia"/>
          <p:cNvSpPr/>
          <p:nvPr/>
        </p:nvSpPr>
        <p:spPr>
          <a:xfrm>
            <a:off x="2069996" y="2054353"/>
            <a:ext cx="1391527" cy="0"/>
          </a:xfrm>
          <a:prstGeom prst="line">
            <a:avLst/>
          </a:prstGeom>
          <a:noFill/>
          <a:ln w="50800" cap="flat">
            <a:solidFill>
              <a:schemeClr val="accent1"/>
            </a:solidFill>
            <a:prstDash val="sysDot"/>
            <a:miter lim="400000"/>
          </a:ln>
          <a:effectLst/>
        </p:spPr>
        <p:txBody>
          <a:bodyPr wrap="square" lIns="91439" tIns="91439" rIns="91439" bIns="91439" numCol="1" anchor="t">
            <a:noAutofit/>
          </a:bodyPr>
          <a:lstStyle/>
          <a:p>
            <a:endParaRPr/>
          </a:p>
        </p:txBody>
      </p:sp>
      <p:sp>
        <p:nvSpPr>
          <p:cNvPr id="37" name="Línia"/>
          <p:cNvSpPr/>
          <p:nvPr/>
        </p:nvSpPr>
        <p:spPr>
          <a:xfrm>
            <a:off x="4814080" y="2054353"/>
            <a:ext cx="1512969" cy="0"/>
          </a:xfrm>
          <a:prstGeom prst="line">
            <a:avLst/>
          </a:prstGeom>
          <a:noFill/>
          <a:ln w="50800" cap="flat">
            <a:solidFill>
              <a:schemeClr val="accent1"/>
            </a:solidFill>
            <a:prstDash val="sysDot"/>
            <a:miter lim="400000"/>
            <a:tailEnd type="triangle" w="med" len="med"/>
          </a:ln>
          <a:effectLst/>
        </p:spPr>
        <p:txBody>
          <a:bodyPr wrap="square" lIns="91439" tIns="91439" rIns="91439" bIns="91439" numCol="1" anchor="t">
            <a:noAutofit/>
          </a:bodyPr>
          <a:lstStyle/>
          <a:p>
            <a:endParaRPr/>
          </a:p>
        </p:txBody>
      </p:sp>
      <p:grpSp>
        <p:nvGrpSpPr>
          <p:cNvPr id="38" name="Grup"/>
          <p:cNvGrpSpPr/>
          <p:nvPr/>
        </p:nvGrpSpPr>
        <p:grpSpPr>
          <a:xfrm>
            <a:off x="3294903" y="2507530"/>
            <a:ext cx="2262705" cy="1699474"/>
            <a:chOff x="0" y="0"/>
            <a:chExt cx="5496287" cy="4128155"/>
          </a:xfrm>
        </p:grpSpPr>
        <p:sp>
          <p:nvSpPr>
            <p:cNvPr id="40" name="118 Rectángulo redondeado"/>
            <p:cNvSpPr/>
            <p:nvPr/>
          </p:nvSpPr>
          <p:spPr>
            <a:xfrm>
              <a:off x="414685" y="1357923"/>
              <a:ext cx="5081602" cy="2377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extrusionOk="0">
                  <a:moveTo>
                    <a:pt x="0" y="0"/>
                  </a:moveTo>
                  <a:lnTo>
                    <a:pt x="21600" y="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91439" tIns="91439" rIns="91439" bIns="91439" numCol="1" anchor="ctr">
              <a:spAutoFit/>
            </a:bodyPr>
            <a:lstStyle/>
            <a:p>
              <a:pPr marR="13545" defTabSz="914400">
                <a:lnSpc>
                  <a:spcPct val="60000"/>
                </a:lnSpc>
                <a:defRPr sz="13200" b="1" spc="-66">
                  <a:solidFill>
                    <a:schemeClr val="accent1">
                      <a:lumOff val="-5137"/>
                    </a:schemeClr>
                  </a:solidFill>
                </a:defRPr>
              </a:pPr>
              <a:r>
                <a:rPr sz="6600" dirty="0"/>
                <a:t>+</a:t>
              </a:r>
              <a:r>
                <a:rPr lang="es-ES" sz="6600" dirty="0"/>
                <a:t>40</a:t>
              </a:r>
              <a:endParaRPr sz="6600" dirty="0"/>
            </a:p>
            <a:p>
              <a:pPr marR="13545" defTabSz="914400">
                <a:lnSpc>
                  <a:spcPct val="60000"/>
                </a:lnSpc>
                <a:defRPr sz="4100" b="1" spc="-20">
                  <a:solidFill>
                    <a:schemeClr val="accent1">
                      <a:lumOff val="-5137"/>
                    </a:schemeClr>
                  </a:solidFill>
                </a:defRPr>
              </a:pPr>
              <a:r>
                <a:rPr sz="2000" dirty="0"/>
                <a:t>agreements</a:t>
              </a:r>
            </a:p>
          </p:txBody>
        </p:sp>
        <p:sp>
          <p:nvSpPr>
            <p:cNvPr id="41" name="Cercle"/>
            <p:cNvSpPr/>
            <p:nvPr/>
          </p:nvSpPr>
          <p:spPr>
            <a:xfrm>
              <a:off x="0" y="0"/>
              <a:ext cx="4128155" cy="4128155"/>
            </a:xfrm>
            <a:prstGeom prst="ellipse">
              <a:avLst/>
            </a:prstGeom>
            <a:noFill/>
            <a:ln w="50800" cap="flat">
              <a:solidFill>
                <a:schemeClr val="accent1">
                  <a:lumOff val="-5137"/>
                </a:schemeClr>
              </a:solidFill>
              <a:prstDash val="sysDot"/>
              <a:miter lim="400000"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endParaRPr/>
            </a:p>
          </p:txBody>
        </p:sp>
      </p:grpSp>
      <p:grpSp>
        <p:nvGrpSpPr>
          <p:cNvPr id="68" name="Grup"/>
          <p:cNvGrpSpPr/>
          <p:nvPr/>
        </p:nvGrpSpPr>
        <p:grpSpPr>
          <a:xfrm>
            <a:off x="1477496" y="1397203"/>
            <a:ext cx="322063" cy="336520"/>
            <a:chOff x="0" y="0"/>
            <a:chExt cx="802683" cy="838716"/>
          </a:xfrm>
        </p:grpSpPr>
        <p:sp>
          <p:nvSpPr>
            <p:cNvPr id="70" name="Línia"/>
            <p:cNvSpPr/>
            <p:nvPr/>
          </p:nvSpPr>
          <p:spPr>
            <a:xfrm flipH="1" flipV="1">
              <a:off x="330496" y="306095"/>
              <a:ext cx="109069" cy="362808"/>
            </a:xfrm>
            <a:prstGeom prst="line">
              <a:avLst/>
            </a:prstGeom>
            <a:noFill/>
            <a:ln w="25400" cap="flat">
              <a:solidFill>
                <a:schemeClr val="accent2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 sz="1000"/>
            </a:p>
          </p:txBody>
        </p:sp>
        <p:sp>
          <p:nvSpPr>
            <p:cNvPr id="71" name="Línia"/>
            <p:cNvSpPr/>
            <p:nvPr/>
          </p:nvSpPr>
          <p:spPr>
            <a:xfrm flipH="1" flipV="1">
              <a:off x="254050" y="306095"/>
              <a:ext cx="109069" cy="362808"/>
            </a:xfrm>
            <a:prstGeom prst="line">
              <a:avLst/>
            </a:prstGeom>
            <a:noFill/>
            <a:ln w="25400" cap="flat">
              <a:solidFill>
                <a:schemeClr val="accent2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 sz="1000"/>
            </a:p>
          </p:txBody>
        </p:sp>
        <p:sp>
          <p:nvSpPr>
            <p:cNvPr id="72" name="Línia"/>
            <p:cNvSpPr/>
            <p:nvPr/>
          </p:nvSpPr>
          <p:spPr>
            <a:xfrm>
              <a:off x="496898" y="152891"/>
              <a:ext cx="303150" cy="2622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00" extrusionOk="0">
                  <a:moveTo>
                    <a:pt x="0" y="11967"/>
                  </a:moveTo>
                  <a:cubicBezTo>
                    <a:pt x="0" y="11967"/>
                    <a:pt x="1513" y="18089"/>
                    <a:pt x="1843" y="19425"/>
                  </a:cubicBezTo>
                  <a:cubicBezTo>
                    <a:pt x="5898" y="21600"/>
                    <a:pt x="17313" y="20307"/>
                    <a:pt x="21600" y="17046"/>
                  </a:cubicBezTo>
                  <a:cubicBezTo>
                    <a:pt x="16819" y="13870"/>
                    <a:pt x="11976" y="10898"/>
                    <a:pt x="11976" y="10898"/>
                  </a:cubicBezTo>
                  <a:cubicBezTo>
                    <a:pt x="11976" y="10898"/>
                    <a:pt x="15255" y="4441"/>
                    <a:pt x="15568" y="0"/>
                  </a:cubicBezTo>
                  <a:cubicBezTo>
                    <a:pt x="12028" y="1192"/>
                    <a:pt x="7317" y="1828"/>
                    <a:pt x="2867" y="1527"/>
                  </a:cubicBezTo>
                </a:path>
              </a:pathLst>
            </a:custGeom>
            <a:noFill/>
            <a:ln w="25400" cap="flat">
              <a:solidFill>
                <a:schemeClr val="accent2"/>
              </a:solidFill>
              <a:prstDash val="solid"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algn="ctr" defTabSz="4572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00"/>
            </a:p>
          </p:txBody>
        </p:sp>
        <p:sp>
          <p:nvSpPr>
            <p:cNvPr id="73" name="Forma"/>
            <p:cNvSpPr/>
            <p:nvPr/>
          </p:nvSpPr>
          <p:spPr>
            <a:xfrm>
              <a:off x="191114" y="38222"/>
              <a:ext cx="393693" cy="2905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69" extrusionOk="0">
                  <a:moveTo>
                    <a:pt x="17865" y="2803"/>
                  </a:moveTo>
                  <a:cubicBezTo>
                    <a:pt x="13968" y="-772"/>
                    <a:pt x="2068" y="-1031"/>
                    <a:pt x="0" y="2622"/>
                  </a:cubicBezTo>
                  <a:cubicBezTo>
                    <a:pt x="947" y="7129"/>
                    <a:pt x="2683" y="15383"/>
                    <a:pt x="3761" y="20512"/>
                  </a:cubicBezTo>
                  <a:cubicBezTo>
                    <a:pt x="7289" y="18273"/>
                    <a:pt x="15024" y="17863"/>
                    <a:pt x="21083" y="20569"/>
                  </a:cubicBezTo>
                  <a:lnTo>
                    <a:pt x="21600" y="20569"/>
                  </a:lnTo>
                  <a:cubicBezTo>
                    <a:pt x="21600" y="20569"/>
                    <a:pt x="17865" y="2803"/>
                    <a:pt x="17865" y="2803"/>
                  </a:cubicBezTo>
                  <a:close/>
                </a:path>
              </a:pathLst>
            </a:custGeom>
            <a:noFill/>
            <a:ln w="25400" cap="flat">
              <a:solidFill>
                <a:schemeClr val="accent2"/>
              </a:solidFill>
              <a:prstDash val="solid"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algn="ctr" defTabSz="4572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00"/>
            </a:p>
          </p:txBody>
        </p:sp>
        <p:sp>
          <p:nvSpPr>
            <p:cNvPr id="74" name="Línia"/>
            <p:cNvSpPr/>
            <p:nvPr/>
          </p:nvSpPr>
          <p:spPr>
            <a:xfrm>
              <a:off x="172003" y="0"/>
              <a:ext cx="19969" cy="77131"/>
            </a:xfrm>
            <a:prstGeom prst="line">
              <a:avLst/>
            </a:prstGeom>
            <a:noFill/>
            <a:ln w="25400" cap="flat">
              <a:solidFill>
                <a:schemeClr val="accent2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 sz="1000"/>
            </a:p>
          </p:txBody>
        </p:sp>
        <p:sp>
          <p:nvSpPr>
            <p:cNvPr id="75" name="Línia"/>
            <p:cNvSpPr/>
            <p:nvPr/>
          </p:nvSpPr>
          <p:spPr>
            <a:xfrm>
              <a:off x="172003" y="630679"/>
              <a:ext cx="458677" cy="1077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41" y="0"/>
                  </a:moveTo>
                  <a:cubicBezTo>
                    <a:pt x="18299" y="1789"/>
                    <a:pt x="21600" y="5722"/>
                    <a:pt x="21600" y="10285"/>
                  </a:cubicBezTo>
                  <a:cubicBezTo>
                    <a:pt x="21600" y="16534"/>
                    <a:pt x="16198" y="21600"/>
                    <a:pt x="10645" y="21600"/>
                  </a:cubicBezTo>
                  <a:cubicBezTo>
                    <a:pt x="5091" y="21600"/>
                    <a:pt x="0" y="16534"/>
                    <a:pt x="0" y="10285"/>
                  </a:cubicBezTo>
                  <a:cubicBezTo>
                    <a:pt x="0" y="6018"/>
                    <a:pt x="2690" y="2301"/>
                    <a:pt x="5791" y="374"/>
                  </a:cubicBezTo>
                </a:path>
              </a:pathLst>
            </a:custGeom>
            <a:noFill/>
            <a:ln w="25400" cap="flat">
              <a:solidFill>
                <a:schemeClr val="accent2"/>
              </a:solidFill>
              <a:prstDash val="solid"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algn="ctr" defTabSz="4572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00"/>
            </a:p>
          </p:txBody>
        </p:sp>
        <p:sp>
          <p:nvSpPr>
            <p:cNvPr id="76" name="Línia"/>
            <p:cNvSpPr/>
            <p:nvPr/>
          </p:nvSpPr>
          <p:spPr>
            <a:xfrm>
              <a:off x="0" y="554233"/>
              <a:ext cx="802683" cy="2844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43" y="0"/>
                  </a:moveTo>
                  <a:cubicBezTo>
                    <a:pt x="17199" y="833"/>
                    <a:pt x="21600" y="5320"/>
                    <a:pt x="21600" y="10731"/>
                  </a:cubicBezTo>
                  <a:cubicBezTo>
                    <a:pt x="21600" y="16734"/>
                    <a:pt x="16343" y="21600"/>
                    <a:pt x="10711" y="21600"/>
                  </a:cubicBezTo>
                  <a:cubicBezTo>
                    <a:pt x="5080" y="21600"/>
                    <a:pt x="0" y="16734"/>
                    <a:pt x="0" y="10731"/>
                  </a:cubicBezTo>
                  <a:cubicBezTo>
                    <a:pt x="0" y="6043"/>
                    <a:pt x="3298" y="2049"/>
                    <a:pt x="7200" y="523"/>
                  </a:cubicBezTo>
                </a:path>
              </a:pathLst>
            </a:custGeom>
            <a:noFill/>
            <a:ln w="25400" cap="flat">
              <a:solidFill>
                <a:schemeClr val="accent2"/>
              </a:solidFill>
              <a:prstDash val="solid"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algn="ctr" defTabSz="4572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000"/>
            </a:p>
          </p:txBody>
        </p:sp>
      </p:grpSp>
      <p:grpSp>
        <p:nvGrpSpPr>
          <p:cNvPr id="77" name="Grup"/>
          <p:cNvGrpSpPr/>
          <p:nvPr/>
        </p:nvGrpSpPr>
        <p:grpSpPr>
          <a:xfrm>
            <a:off x="6504712" y="1397203"/>
            <a:ext cx="352235" cy="368048"/>
            <a:chOff x="0" y="0"/>
            <a:chExt cx="802682" cy="838715"/>
          </a:xfrm>
        </p:grpSpPr>
        <p:sp>
          <p:nvSpPr>
            <p:cNvPr id="78" name="Línia"/>
            <p:cNvSpPr/>
            <p:nvPr/>
          </p:nvSpPr>
          <p:spPr>
            <a:xfrm flipH="1" flipV="1">
              <a:off x="330496" y="306095"/>
              <a:ext cx="109069" cy="362808"/>
            </a:xfrm>
            <a:prstGeom prst="line">
              <a:avLst/>
            </a:prstGeom>
            <a:noFill/>
            <a:ln w="25400" cap="flat">
              <a:solidFill>
                <a:schemeClr val="accent4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9" name="Línia"/>
            <p:cNvSpPr/>
            <p:nvPr/>
          </p:nvSpPr>
          <p:spPr>
            <a:xfrm flipH="1" flipV="1">
              <a:off x="254050" y="306095"/>
              <a:ext cx="109069" cy="362808"/>
            </a:xfrm>
            <a:prstGeom prst="line">
              <a:avLst/>
            </a:prstGeom>
            <a:noFill/>
            <a:ln w="25400" cap="flat">
              <a:solidFill>
                <a:schemeClr val="accent4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80" name="Línia"/>
            <p:cNvSpPr/>
            <p:nvPr/>
          </p:nvSpPr>
          <p:spPr>
            <a:xfrm>
              <a:off x="496898" y="152891"/>
              <a:ext cx="303150" cy="2622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00" extrusionOk="0">
                  <a:moveTo>
                    <a:pt x="0" y="11967"/>
                  </a:moveTo>
                  <a:cubicBezTo>
                    <a:pt x="0" y="11967"/>
                    <a:pt x="1513" y="18089"/>
                    <a:pt x="1843" y="19425"/>
                  </a:cubicBezTo>
                  <a:cubicBezTo>
                    <a:pt x="5898" y="21600"/>
                    <a:pt x="17313" y="20307"/>
                    <a:pt x="21600" y="17046"/>
                  </a:cubicBezTo>
                  <a:cubicBezTo>
                    <a:pt x="16819" y="13870"/>
                    <a:pt x="11976" y="10898"/>
                    <a:pt x="11976" y="10898"/>
                  </a:cubicBezTo>
                  <a:cubicBezTo>
                    <a:pt x="11976" y="10898"/>
                    <a:pt x="15255" y="4441"/>
                    <a:pt x="15568" y="0"/>
                  </a:cubicBezTo>
                  <a:cubicBezTo>
                    <a:pt x="12028" y="1192"/>
                    <a:pt x="7317" y="1828"/>
                    <a:pt x="2867" y="1527"/>
                  </a:cubicBezTo>
                </a:path>
              </a:pathLst>
            </a:custGeom>
            <a:noFill/>
            <a:ln w="25400" cap="flat">
              <a:solidFill>
                <a:schemeClr val="accent4"/>
              </a:solidFill>
              <a:prstDash val="solid"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algn="ctr" defTabSz="4572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/>
            </a:p>
          </p:txBody>
        </p:sp>
        <p:sp>
          <p:nvSpPr>
            <p:cNvPr id="81" name="Forma"/>
            <p:cNvSpPr/>
            <p:nvPr/>
          </p:nvSpPr>
          <p:spPr>
            <a:xfrm>
              <a:off x="191114" y="38222"/>
              <a:ext cx="393693" cy="2905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69" extrusionOk="0">
                  <a:moveTo>
                    <a:pt x="17865" y="2803"/>
                  </a:moveTo>
                  <a:cubicBezTo>
                    <a:pt x="13968" y="-772"/>
                    <a:pt x="2068" y="-1031"/>
                    <a:pt x="0" y="2622"/>
                  </a:cubicBezTo>
                  <a:cubicBezTo>
                    <a:pt x="947" y="7129"/>
                    <a:pt x="2683" y="15383"/>
                    <a:pt x="3761" y="20512"/>
                  </a:cubicBezTo>
                  <a:cubicBezTo>
                    <a:pt x="7289" y="18273"/>
                    <a:pt x="15024" y="17863"/>
                    <a:pt x="21083" y="20569"/>
                  </a:cubicBezTo>
                  <a:lnTo>
                    <a:pt x="21600" y="20569"/>
                  </a:lnTo>
                  <a:cubicBezTo>
                    <a:pt x="21600" y="20569"/>
                    <a:pt x="17865" y="2803"/>
                    <a:pt x="17865" y="2803"/>
                  </a:cubicBezTo>
                  <a:close/>
                </a:path>
              </a:pathLst>
            </a:custGeom>
            <a:noFill/>
            <a:ln w="25400" cap="flat">
              <a:solidFill>
                <a:schemeClr val="accent4"/>
              </a:solidFill>
              <a:prstDash val="solid"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algn="ctr" defTabSz="4572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/>
            </a:p>
          </p:txBody>
        </p:sp>
        <p:sp>
          <p:nvSpPr>
            <p:cNvPr id="82" name="Línia"/>
            <p:cNvSpPr/>
            <p:nvPr/>
          </p:nvSpPr>
          <p:spPr>
            <a:xfrm>
              <a:off x="172003" y="0"/>
              <a:ext cx="19969" cy="77131"/>
            </a:xfrm>
            <a:prstGeom prst="line">
              <a:avLst/>
            </a:prstGeom>
            <a:noFill/>
            <a:ln w="25400" cap="flat">
              <a:solidFill>
                <a:schemeClr val="accent4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83" name="Línia"/>
            <p:cNvSpPr/>
            <p:nvPr/>
          </p:nvSpPr>
          <p:spPr>
            <a:xfrm>
              <a:off x="172003" y="630679"/>
              <a:ext cx="458677" cy="1077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41" y="0"/>
                  </a:moveTo>
                  <a:cubicBezTo>
                    <a:pt x="18299" y="1789"/>
                    <a:pt x="21600" y="5722"/>
                    <a:pt x="21600" y="10285"/>
                  </a:cubicBezTo>
                  <a:cubicBezTo>
                    <a:pt x="21600" y="16534"/>
                    <a:pt x="16198" y="21600"/>
                    <a:pt x="10645" y="21600"/>
                  </a:cubicBezTo>
                  <a:cubicBezTo>
                    <a:pt x="5091" y="21600"/>
                    <a:pt x="0" y="16534"/>
                    <a:pt x="0" y="10285"/>
                  </a:cubicBezTo>
                  <a:cubicBezTo>
                    <a:pt x="0" y="6018"/>
                    <a:pt x="2690" y="2301"/>
                    <a:pt x="5791" y="374"/>
                  </a:cubicBezTo>
                </a:path>
              </a:pathLst>
            </a:custGeom>
            <a:noFill/>
            <a:ln w="25400" cap="flat">
              <a:solidFill>
                <a:schemeClr val="accent4"/>
              </a:solidFill>
              <a:prstDash val="solid"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algn="ctr" defTabSz="4572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/>
            </a:p>
          </p:txBody>
        </p:sp>
        <p:sp>
          <p:nvSpPr>
            <p:cNvPr id="84" name="Línia"/>
            <p:cNvSpPr/>
            <p:nvPr/>
          </p:nvSpPr>
          <p:spPr>
            <a:xfrm>
              <a:off x="0" y="554233"/>
              <a:ext cx="802683" cy="2844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43" y="0"/>
                  </a:moveTo>
                  <a:cubicBezTo>
                    <a:pt x="17199" y="833"/>
                    <a:pt x="21600" y="5320"/>
                    <a:pt x="21600" y="10731"/>
                  </a:cubicBezTo>
                  <a:cubicBezTo>
                    <a:pt x="21600" y="16734"/>
                    <a:pt x="16343" y="21600"/>
                    <a:pt x="10711" y="21600"/>
                  </a:cubicBezTo>
                  <a:cubicBezTo>
                    <a:pt x="5080" y="21600"/>
                    <a:pt x="0" y="16734"/>
                    <a:pt x="0" y="10731"/>
                  </a:cubicBezTo>
                  <a:cubicBezTo>
                    <a:pt x="0" y="6043"/>
                    <a:pt x="3298" y="2049"/>
                    <a:pt x="7200" y="523"/>
                  </a:cubicBezTo>
                </a:path>
              </a:pathLst>
            </a:custGeom>
            <a:noFill/>
            <a:ln w="25400" cap="flat">
              <a:solidFill>
                <a:schemeClr val="accent4"/>
              </a:solidFill>
              <a:prstDash val="solid"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algn="ctr" defTabSz="4572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/>
            </a:p>
          </p:txBody>
        </p:sp>
      </p:grpSp>
      <p:grpSp>
        <p:nvGrpSpPr>
          <p:cNvPr id="85" name="Grup"/>
          <p:cNvGrpSpPr/>
          <p:nvPr/>
        </p:nvGrpSpPr>
        <p:grpSpPr>
          <a:xfrm>
            <a:off x="3879262" y="2622553"/>
            <a:ext cx="573952" cy="392754"/>
            <a:chOff x="0" y="0"/>
            <a:chExt cx="1347850" cy="922330"/>
          </a:xfrm>
        </p:grpSpPr>
        <p:sp>
          <p:nvSpPr>
            <p:cNvPr id="86" name="Línia"/>
            <p:cNvSpPr/>
            <p:nvPr/>
          </p:nvSpPr>
          <p:spPr>
            <a:xfrm>
              <a:off x="383840" y="-1"/>
              <a:ext cx="964011" cy="55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99" h="19745" extrusionOk="0">
                  <a:moveTo>
                    <a:pt x="14706" y="0"/>
                  </a:moveTo>
                  <a:cubicBezTo>
                    <a:pt x="14706" y="0"/>
                    <a:pt x="12366" y="3419"/>
                    <a:pt x="12123" y="3480"/>
                  </a:cubicBezTo>
                  <a:cubicBezTo>
                    <a:pt x="11414" y="3660"/>
                    <a:pt x="8236" y="1224"/>
                    <a:pt x="7595" y="964"/>
                  </a:cubicBezTo>
                  <a:cubicBezTo>
                    <a:pt x="6953" y="703"/>
                    <a:pt x="550" y="4023"/>
                    <a:pt x="74" y="5281"/>
                  </a:cubicBezTo>
                  <a:cubicBezTo>
                    <a:pt x="-401" y="6541"/>
                    <a:pt x="1490" y="9515"/>
                    <a:pt x="3311" y="9137"/>
                  </a:cubicBezTo>
                  <a:cubicBezTo>
                    <a:pt x="5132" y="8758"/>
                    <a:pt x="7836" y="7179"/>
                    <a:pt x="8624" y="8465"/>
                  </a:cubicBezTo>
                  <a:cubicBezTo>
                    <a:pt x="9902" y="10550"/>
                    <a:pt x="13630" y="16933"/>
                    <a:pt x="15391" y="19471"/>
                  </a:cubicBezTo>
                  <a:cubicBezTo>
                    <a:pt x="16868" y="21600"/>
                    <a:pt x="21199" y="10599"/>
                    <a:pt x="21199" y="10599"/>
                  </a:cubicBezTo>
                </a:path>
              </a:pathLst>
            </a:custGeom>
            <a:noFill/>
            <a:ln w="25400" cap="flat">
              <a:solidFill>
                <a:schemeClr val="accent3">
                  <a:lumOff val="-2876"/>
                </a:schemeClr>
              </a:solidFill>
              <a:prstDash val="solid"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algn="ctr" defTabSz="4572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/>
            </a:p>
          </p:txBody>
        </p:sp>
        <p:sp>
          <p:nvSpPr>
            <p:cNvPr id="87" name="Línia"/>
            <p:cNvSpPr/>
            <p:nvPr/>
          </p:nvSpPr>
          <p:spPr>
            <a:xfrm>
              <a:off x="610822" y="763989"/>
              <a:ext cx="95654" cy="97113"/>
            </a:xfrm>
            <a:prstGeom prst="line">
              <a:avLst/>
            </a:prstGeom>
            <a:noFill/>
            <a:ln w="25400" cap="flat">
              <a:solidFill>
                <a:schemeClr val="accent3">
                  <a:lumOff val="-2876"/>
                </a:scheme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88" name="Línia"/>
            <p:cNvSpPr/>
            <p:nvPr/>
          </p:nvSpPr>
          <p:spPr>
            <a:xfrm>
              <a:off x="697556" y="627744"/>
              <a:ext cx="167591" cy="180899"/>
            </a:xfrm>
            <a:prstGeom prst="line">
              <a:avLst/>
            </a:prstGeom>
            <a:noFill/>
            <a:ln w="25400" cap="flat">
              <a:solidFill>
                <a:schemeClr val="accent3">
                  <a:lumOff val="-2876"/>
                </a:scheme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89" name="Línia"/>
            <p:cNvSpPr/>
            <p:nvPr/>
          </p:nvSpPr>
          <p:spPr>
            <a:xfrm>
              <a:off x="810124" y="518553"/>
              <a:ext cx="198990" cy="206162"/>
            </a:xfrm>
            <a:prstGeom prst="line">
              <a:avLst/>
            </a:prstGeom>
            <a:noFill/>
            <a:ln w="25400" cap="flat">
              <a:solidFill>
                <a:schemeClr val="accent3">
                  <a:lumOff val="-2876"/>
                </a:scheme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90" name="Forma"/>
            <p:cNvSpPr/>
            <p:nvPr/>
          </p:nvSpPr>
          <p:spPr>
            <a:xfrm>
              <a:off x="59052" y="413366"/>
              <a:ext cx="460544" cy="460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953" h="20953" extrusionOk="0">
                  <a:moveTo>
                    <a:pt x="14136" y="20166"/>
                  </a:moveTo>
                  <a:cubicBezTo>
                    <a:pt x="15185" y="21215"/>
                    <a:pt x="16887" y="21215"/>
                    <a:pt x="17936" y="20166"/>
                  </a:cubicBezTo>
                  <a:lnTo>
                    <a:pt x="20323" y="17778"/>
                  </a:lnTo>
                  <a:cubicBezTo>
                    <a:pt x="21338" y="16764"/>
                    <a:pt x="21078" y="15104"/>
                    <a:pt x="19895" y="13920"/>
                  </a:cubicBezTo>
                  <a:cubicBezTo>
                    <a:pt x="18711" y="12736"/>
                    <a:pt x="17051" y="12476"/>
                    <a:pt x="16036" y="13491"/>
                  </a:cubicBezTo>
                  <a:cubicBezTo>
                    <a:pt x="17051" y="12476"/>
                    <a:pt x="16791" y="10817"/>
                    <a:pt x="15607" y="9633"/>
                  </a:cubicBezTo>
                  <a:cubicBezTo>
                    <a:pt x="14423" y="8449"/>
                    <a:pt x="12764" y="8189"/>
                    <a:pt x="11749" y="9204"/>
                  </a:cubicBezTo>
                  <a:cubicBezTo>
                    <a:pt x="12764" y="8189"/>
                    <a:pt x="12504" y="6529"/>
                    <a:pt x="11320" y="5346"/>
                  </a:cubicBezTo>
                  <a:cubicBezTo>
                    <a:pt x="10136" y="4162"/>
                    <a:pt x="8476" y="3902"/>
                    <a:pt x="7462" y="4917"/>
                  </a:cubicBezTo>
                  <a:cubicBezTo>
                    <a:pt x="8476" y="3902"/>
                    <a:pt x="8217" y="2242"/>
                    <a:pt x="7033" y="1058"/>
                  </a:cubicBezTo>
                  <a:cubicBezTo>
                    <a:pt x="5849" y="-125"/>
                    <a:pt x="4189" y="-385"/>
                    <a:pt x="3175" y="630"/>
                  </a:cubicBezTo>
                  <a:lnTo>
                    <a:pt x="787" y="3017"/>
                  </a:lnTo>
                  <a:cubicBezTo>
                    <a:pt x="-262" y="4066"/>
                    <a:pt x="-262" y="5768"/>
                    <a:pt x="787" y="6817"/>
                  </a:cubicBezTo>
                  <a:cubicBezTo>
                    <a:pt x="787" y="6817"/>
                    <a:pt x="14136" y="20166"/>
                    <a:pt x="14136" y="20166"/>
                  </a:cubicBezTo>
                  <a:close/>
                </a:path>
              </a:pathLst>
            </a:custGeom>
            <a:noFill/>
            <a:ln w="25400" cap="flat">
              <a:solidFill>
                <a:schemeClr val="accent3">
                  <a:lumOff val="-2876"/>
                </a:schemeClr>
              </a:solidFill>
              <a:prstDash val="solid"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algn="ctr" defTabSz="4572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/>
            </a:p>
          </p:txBody>
        </p:sp>
        <p:sp>
          <p:nvSpPr>
            <p:cNvPr id="91" name="Línia"/>
            <p:cNvSpPr/>
            <p:nvPr/>
          </p:nvSpPr>
          <p:spPr>
            <a:xfrm>
              <a:off x="472418" y="531471"/>
              <a:ext cx="641557" cy="39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81" h="19796" extrusionOk="0">
                  <a:moveTo>
                    <a:pt x="0" y="14884"/>
                  </a:moveTo>
                  <a:lnTo>
                    <a:pt x="588" y="15827"/>
                  </a:lnTo>
                  <a:lnTo>
                    <a:pt x="2028" y="18112"/>
                  </a:lnTo>
                  <a:cubicBezTo>
                    <a:pt x="4226" y="21600"/>
                    <a:pt x="6278" y="19034"/>
                    <a:pt x="7337" y="16140"/>
                  </a:cubicBezTo>
                  <a:cubicBezTo>
                    <a:pt x="9351" y="17788"/>
                    <a:pt x="11602" y="15967"/>
                    <a:pt x="12402" y="13484"/>
                  </a:cubicBezTo>
                  <a:cubicBezTo>
                    <a:pt x="14950" y="15480"/>
                    <a:pt x="17181" y="11348"/>
                    <a:pt x="16998" y="9233"/>
                  </a:cubicBezTo>
                  <a:cubicBezTo>
                    <a:pt x="19750" y="8976"/>
                    <a:pt x="21600" y="4012"/>
                    <a:pt x="19711" y="0"/>
                  </a:cubicBezTo>
                </a:path>
              </a:pathLst>
            </a:custGeom>
            <a:noFill/>
            <a:ln w="25400" cap="flat">
              <a:solidFill>
                <a:schemeClr val="accent3">
                  <a:lumOff val="-2876"/>
                </a:schemeClr>
              </a:solidFill>
              <a:prstDash val="solid"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algn="ctr" defTabSz="4572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/>
            </a:p>
          </p:txBody>
        </p:sp>
        <p:sp>
          <p:nvSpPr>
            <p:cNvPr id="92" name="Línia"/>
            <p:cNvSpPr/>
            <p:nvPr/>
          </p:nvSpPr>
          <p:spPr>
            <a:xfrm>
              <a:off x="-1" y="324787"/>
              <a:ext cx="101510" cy="1328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3419" y="10627"/>
                  </a:lnTo>
                  <a:cubicBezTo>
                    <a:pt x="14848" y="14370"/>
                    <a:pt x="18153" y="18395"/>
                    <a:pt x="21600" y="21600"/>
                  </a:cubicBezTo>
                </a:path>
              </a:pathLst>
            </a:custGeom>
            <a:noFill/>
            <a:ln w="25400" cap="flat">
              <a:solidFill>
                <a:schemeClr val="accent3">
                  <a:lumOff val="-2876"/>
                </a:schemeClr>
              </a:solidFill>
              <a:prstDash val="solid"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algn="ctr" defTabSz="4572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/>
            </a:p>
          </p:txBody>
        </p:sp>
        <p:sp>
          <p:nvSpPr>
            <p:cNvPr id="93" name="Línia"/>
            <p:cNvSpPr/>
            <p:nvPr/>
          </p:nvSpPr>
          <p:spPr>
            <a:xfrm>
              <a:off x="295382" y="36263"/>
              <a:ext cx="106246" cy="106308"/>
            </a:xfrm>
            <a:prstGeom prst="line">
              <a:avLst/>
            </a:prstGeom>
            <a:noFill/>
            <a:ln w="25400" cap="flat">
              <a:solidFill>
                <a:schemeClr val="accent3">
                  <a:lumOff val="-2876"/>
                </a:scheme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94" name="Línia"/>
            <p:cNvSpPr/>
            <p:nvPr/>
          </p:nvSpPr>
          <p:spPr>
            <a:xfrm flipV="1">
              <a:off x="129755" y="525123"/>
              <a:ext cx="92731" cy="95733"/>
            </a:xfrm>
            <a:prstGeom prst="line">
              <a:avLst/>
            </a:prstGeom>
            <a:noFill/>
            <a:ln w="25400" cap="flat">
              <a:solidFill>
                <a:schemeClr val="accent3">
                  <a:lumOff val="-2876"/>
                </a:scheme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95" name="Línia"/>
            <p:cNvSpPr/>
            <p:nvPr/>
          </p:nvSpPr>
          <p:spPr>
            <a:xfrm flipV="1">
              <a:off x="129755" y="525123"/>
              <a:ext cx="92731" cy="95733"/>
            </a:xfrm>
            <a:prstGeom prst="line">
              <a:avLst/>
            </a:prstGeom>
            <a:noFill/>
            <a:ln w="25400" cap="flat">
              <a:solidFill>
                <a:schemeClr val="accent3">
                  <a:lumOff val="-2876"/>
                </a:scheme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96" name="Línia"/>
            <p:cNvSpPr/>
            <p:nvPr/>
          </p:nvSpPr>
          <p:spPr>
            <a:xfrm flipV="1">
              <a:off x="223985" y="619352"/>
              <a:ext cx="92731" cy="95734"/>
            </a:xfrm>
            <a:prstGeom prst="line">
              <a:avLst/>
            </a:prstGeom>
            <a:noFill/>
            <a:ln w="25400" cap="flat">
              <a:solidFill>
                <a:schemeClr val="accent3">
                  <a:lumOff val="-2876"/>
                </a:scheme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97" name="Línia"/>
            <p:cNvSpPr/>
            <p:nvPr/>
          </p:nvSpPr>
          <p:spPr>
            <a:xfrm flipV="1">
              <a:off x="318215" y="713582"/>
              <a:ext cx="92731" cy="95734"/>
            </a:xfrm>
            <a:prstGeom prst="line">
              <a:avLst/>
            </a:prstGeom>
            <a:noFill/>
            <a:ln w="25400" cap="flat">
              <a:solidFill>
                <a:schemeClr val="accent3">
                  <a:lumOff val="-2876"/>
                </a:scheme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457200">
                <a:defRPr sz="1200">
                  <a:solidFill>
                    <a:srgbClr val="000000"/>
                  </a:solidFill>
                </a:defRPr>
              </a:pPr>
              <a:endParaRPr/>
            </a:p>
          </p:txBody>
        </p:sp>
      </p:grpSp>
      <p:sp>
        <p:nvSpPr>
          <p:cNvPr id="109" name="CuadroTexto 108"/>
          <p:cNvSpPr txBox="1"/>
          <p:nvPr/>
        </p:nvSpPr>
        <p:spPr>
          <a:xfrm>
            <a:off x="7507830" y="4848713"/>
            <a:ext cx="327233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600" dirty="0">
                <a:solidFill>
                  <a:srgbClr val="425563"/>
                </a:solidFill>
              </a:rPr>
              <a:t>(*) </a:t>
            </a:r>
            <a:r>
              <a:rPr lang="es-ES_tradnl" sz="600" dirty="0" err="1">
                <a:solidFill>
                  <a:srgbClr val="425563"/>
                </a:solidFill>
              </a:rPr>
              <a:t>Including</a:t>
            </a:r>
            <a:r>
              <a:rPr lang="es-ES_tradnl" sz="600" dirty="0">
                <a:solidFill>
                  <a:srgbClr val="425563"/>
                </a:solidFill>
              </a:rPr>
              <a:t> </a:t>
            </a:r>
            <a:r>
              <a:rPr lang="es-ES_tradnl" sz="600" dirty="0" err="1">
                <a:solidFill>
                  <a:srgbClr val="425563"/>
                </a:solidFill>
              </a:rPr>
              <a:t>transactions</a:t>
            </a:r>
            <a:r>
              <a:rPr lang="es-ES_tradnl" sz="600" dirty="0">
                <a:solidFill>
                  <a:srgbClr val="425563"/>
                </a:solidFill>
              </a:rPr>
              <a:t> </a:t>
            </a:r>
            <a:r>
              <a:rPr lang="es-ES_tradnl" sz="600" dirty="0" err="1">
                <a:solidFill>
                  <a:srgbClr val="425563"/>
                </a:solidFill>
              </a:rPr>
              <a:t>not</a:t>
            </a:r>
            <a:r>
              <a:rPr lang="es-ES_tradnl" sz="600" dirty="0">
                <a:solidFill>
                  <a:srgbClr val="425563"/>
                </a:solidFill>
              </a:rPr>
              <a:t> </a:t>
            </a:r>
            <a:r>
              <a:rPr lang="es-ES_tradnl" sz="600" dirty="0" err="1">
                <a:solidFill>
                  <a:srgbClr val="425563"/>
                </a:solidFill>
              </a:rPr>
              <a:t>yet</a:t>
            </a:r>
            <a:r>
              <a:rPr lang="es-ES_tradnl" sz="600" dirty="0">
                <a:solidFill>
                  <a:srgbClr val="425563"/>
                </a:solidFill>
              </a:rPr>
              <a:t> </a:t>
            </a:r>
            <a:r>
              <a:rPr lang="es-ES_tradnl" sz="600" dirty="0" err="1">
                <a:solidFill>
                  <a:srgbClr val="425563"/>
                </a:solidFill>
              </a:rPr>
              <a:t>closed</a:t>
            </a:r>
            <a:r>
              <a:rPr lang="es-ES_tradnl" sz="600" dirty="0">
                <a:solidFill>
                  <a:srgbClr val="425563"/>
                </a:solidFill>
              </a:rPr>
              <a:t> </a:t>
            </a:r>
            <a:endParaRPr lang="es-ES" sz="600" dirty="0">
              <a:solidFill>
                <a:schemeClr val="bg1"/>
              </a:solidFill>
            </a:endParaRPr>
          </a:p>
        </p:txBody>
      </p:sp>
      <p:pic>
        <p:nvPicPr>
          <p:cNvPr id="110" name="Imatge" descr="Imatg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4688" y="4226953"/>
            <a:ext cx="296041" cy="234304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111" name="Imatge" descr="Imatge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9909" y="3856124"/>
            <a:ext cx="390506" cy="234304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112" name="Imatge" descr="Imatge"/>
          <p:cNvPicPr>
            <a:picLocks noChangeAspect="1"/>
          </p:cNvPicPr>
          <p:nvPr/>
        </p:nvPicPr>
        <p:blipFill>
          <a:blip r:embed="rId6"/>
          <a:srcRect l="5933"/>
          <a:stretch>
            <a:fillRect/>
          </a:stretch>
        </p:blipFill>
        <p:spPr>
          <a:xfrm rot="16200000">
            <a:off x="7735512" y="3837018"/>
            <a:ext cx="278475" cy="234304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113" name="Imatge" descr="Imatge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6541922" y="4583765"/>
            <a:ext cx="390506" cy="234304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114" name="Imatge" descr="Imatge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6580953" y="2752123"/>
            <a:ext cx="296041" cy="234304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123" name="Imatge" descr="Imatge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6574865" y="3121579"/>
            <a:ext cx="296041" cy="234304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124" name="Imatge" descr="Imatge"/>
          <p:cNvPicPr>
            <a:picLocks noChangeAspect="1"/>
          </p:cNvPicPr>
          <p:nvPr/>
        </p:nvPicPr>
        <p:blipFill>
          <a:blip r:embed="rId3"/>
          <a:srcRect r="24190"/>
          <a:stretch>
            <a:fillRect/>
          </a:stretch>
        </p:blipFill>
        <p:spPr>
          <a:xfrm>
            <a:off x="6590979" y="4228878"/>
            <a:ext cx="295984" cy="234258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125" name="Imatge" descr="Imatge"/>
          <p:cNvPicPr>
            <a:picLocks noChangeAspect="1"/>
          </p:cNvPicPr>
          <p:nvPr/>
        </p:nvPicPr>
        <p:blipFill>
          <a:blip r:embed="rId9"/>
          <a:srcRect t="403" b="403"/>
          <a:stretch>
            <a:fillRect/>
          </a:stretch>
        </p:blipFill>
        <p:spPr>
          <a:xfrm>
            <a:off x="7667065" y="2771040"/>
            <a:ext cx="390507" cy="234304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sp>
        <p:nvSpPr>
          <p:cNvPr id="126" name="118 Rectángulo redondeado"/>
          <p:cNvSpPr/>
          <p:nvPr/>
        </p:nvSpPr>
        <p:spPr>
          <a:xfrm>
            <a:off x="8124827" y="4145955"/>
            <a:ext cx="693897" cy="419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square" lIns="91439" tIns="91439" rIns="91439" bIns="91439" numCol="1" anchor="ctr">
            <a:spAutoFit/>
          </a:bodyPr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13545" defTabSz="914400">
              <a:lnSpc>
                <a:spcPct val="60000"/>
              </a:lnSpc>
              <a:defRPr sz="1800" b="1" spc="-9">
                <a:solidFill>
                  <a:srgbClr val="2A3640"/>
                </a:solidFill>
              </a:defRPr>
            </a:pPr>
            <a:r>
              <a:rPr lang="es-ES" sz="1200" spc="-15" dirty="0"/>
              <a:t>2,399</a:t>
            </a:r>
            <a:br>
              <a:rPr sz="1200" dirty="0"/>
            </a:br>
            <a:r>
              <a:rPr lang="es-ES" sz="1200" dirty="0"/>
              <a:t>sites</a:t>
            </a:r>
            <a:endParaRPr sz="1200" dirty="0"/>
          </a:p>
        </p:txBody>
      </p:sp>
      <p:sp>
        <p:nvSpPr>
          <p:cNvPr id="127" name="118 Rectángulo redondeado"/>
          <p:cNvSpPr/>
          <p:nvPr/>
        </p:nvSpPr>
        <p:spPr>
          <a:xfrm>
            <a:off x="6967281" y="3769404"/>
            <a:ext cx="693897" cy="419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square" lIns="91439" tIns="91439" rIns="91439" bIns="91439" numCol="1" anchor="ctr">
            <a:spAutoFit/>
          </a:bodyPr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13545" defTabSz="914400">
              <a:lnSpc>
                <a:spcPct val="60000"/>
              </a:lnSpc>
              <a:defRPr sz="1800" b="1" spc="-9">
                <a:solidFill>
                  <a:srgbClr val="2A3640"/>
                </a:solidFill>
              </a:defRPr>
            </a:pPr>
            <a:r>
              <a:rPr lang="es-ES" sz="1200" spc="-15" dirty="0"/>
              <a:t>14,720</a:t>
            </a:r>
            <a:br>
              <a:rPr sz="1200" dirty="0"/>
            </a:br>
            <a:r>
              <a:rPr lang="es-ES" sz="1200" dirty="0"/>
              <a:t>sites</a:t>
            </a:r>
            <a:endParaRPr sz="1200" dirty="0"/>
          </a:p>
        </p:txBody>
      </p:sp>
      <p:sp>
        <p:nvSpPr>
          <p:cNvPr id="128" name="118 Rectángulo redondeado"/>
          <p:cNvSpPr/>
          <p:nvPr/>
        </p:nvSpPr>
        <p:spPr>
          <a:xfrm>
            <a:off x="8106868" y="3778968"/>
            <a:ext cx="693897" cy="419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square" lIns="91439" tIns="91439" rIns="91439" bIns="91439" numCol="1" anchor="ctr">
            <a:spAutoFit/>
          </a:bodyPr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13545" defTabSz="914400">
              <a:lnSpc>
                <a:spcPct val="60000"/>
              </a:lnSpc>
              <a:defRPr sz="1800" b="1" spc="-9">
                <a:solidFill>
                  <a:srgbClr val="2A3640"/>
                </a:solidFill>
              </a:defRPr>
            </a:pPr>
            <a:r>
              <a:rPr lang="es-ES_tradnl" sz="1200" spc="-15" dirty="0"/>
              <a:t>4,314</a:t>
            </a:r>
            <a:br>
              <a:rPr sz="1200" dirty="0"/>
            </a:br>
            <a:r>
              <a:rPr lang="es-ES" sz="1200" dirty="0"/>
              <a:t>sites</a:t>
            </a:r>
            <a:endParaRPr sz="1200" dirty="0"/>
          </a:p>
        </p:txBody>
      </p:sp>
      <p:sp>
        <p:nvSpPr>
          <p:cNvPr id="129" name="118 Rectángulo redondeado"/>
          <p:cNvSpPr/>
          <p:nvPr/>
        </p:nvSpPr>
        <p:spPr>
          <a:xfrm>
            <a:off x="6969294" y="4520575"/>
            <a:ext cx="693897" cy="419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square" lIns="91439" tIns="91439" rIns="91439" bIns="91439" numCol="1" anchor="ctr">
            <a:spAutoFit/>
          </a:bodyPr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13545" defTabSz="914400">
              <a:lnSpc>
                <a:spcPct val="60000"/>
              </a:lnSpc>
              <a:defRPr sz="1800" b="1" spc="-9">
                <a:solidFill>
                  <a:srgbClr val="2A3640"/>
                </a:solidFill>
              </a:defRPr>
            </a:pPr>
            <a:r>
              <a:rPr sz="1200" spc="-15" dirty="0"/>
              <a:t>6</a:t>
            </a:r>
            <a:r>
              <a:rPr lang="es-ES" sz="1200" spc="-15" dirty="0"/>
              <a:t>,</a:t>
            </a:r>
            <a:r>
              <a:rPr lang="es-ES_tradnl" sz="1200" spc="-15" dirty="0"/>
              <a:t>118</a:t>
            </a:r>
            <a:br>
              <a:rPr sz="1200" dirty="0"/>
            </a:br>
            <a:r>
              <a:rPr lang="es-ES" sz="1200" dirty="0"/>
              <a:t>sites</a:t>
            </a:r>
            <a:endParaRPr sz="1200" dirty="0"/>
          </a:p>
        </p:txBody>
      </p:sp>
      <p:sp>
        <p:nvSpPr>
          <p:cNvPr id="130" name="118 Rectángulo redondeado"/>
          <p:cNvSpPr/>
          <p:nvPr/>
        </p:nvSpPr>
        <p:spPr>
          <a:xfrm>
            <a:off x="6961092" y="2666807"/>
            <a:ext cx="693896" cy="419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square" lIns="91439" tIns="91439" rIns="91439" bIns="91439" numCol="1" anchor="ctr">
            <a:spAutoFit/>
          </a:bodyPr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13545" defTabSz="914400">
              <a:lnSpc>
                <a:spcPct val="60000"/>
              </a:lnSpc>
              <a:defRPr sz="1800" b="1" spc="-9">
                <a:solidFill>
                  <a:srgbClr val="2A3640"/>
                </a:solidFill>
              </a:defRPr>
            </a:pPr>
            <a:r>
              <a:rPr lang="es-ES" sz="1200" spc="-15" dirty="0"/>
              <a:t>26,740</a:t>
            </a:r>
            <a:br>
              <a:rPr sz="1200" dirty="0"/>
            </a:br>
            <a:r>
              <a:rPr lang="es-ES" sz="1200" dirty="0"/>
              <a:t>sites </a:t>
            </a:r>
            <a:endParaRPr sz="1200" dirty="0"/>
          </a:p>
        </p:txBody>
      </p:sp>
      <p:sp>
        <p:nvSpPr>
          <p:cNvPr id="131" name="118 Rectángulo redondeado"/>
          <p:cNvSpPr/>
          <p:nvPr/>
        </p:nvSpPr>
        <p:spPr>
          <a:xfrm>
            <a:off x="6969294" y="3029414"/>
            <a:ext cx="693896" cy="419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square" lIns="91439" tIns="91439" rIns="91439" bIns="91439" numCol="1" anchor="ctr">
            <a:spAutoFit/>
          </a:bodyPr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13545" defTabSz="914400">
              <a:lnSpc>
                <a:spcPct val="60000"/>
              </a:lnSpc>
              <a:defRPr sz="1800" b="1" spc="-9">
                <a:solidFill>
                  <a:srgbClr val="2A3640"/>
                </a:solidFill>
              </a:defRPr>
            </a:pPr>
            <a:r>
              <a:rPr lang="es-ES" sz="1200" spc="-15" dirty="0"/>
              <a:t>25,549</a:t>
            </a:r>
            <a:br>
              <a:rPr sz="1200" dirty="0"/>
            </a:br>
            <a:r>
              <a:rPr lang="es-ES" sz="1200" dirty="0"/>
              <a:t>sites</a:t>
            </a:r>
            <a:endParaRPr sz="1200" dirty="0"/>
          </a:p>
        </p:txBody>
      </p:sp>
      <p:sp>
        <p:nvSpPr>
          <p:cNvPr id="132" name="118 Rectángulo redondeado"/>
          <p:cNvSpPr/>
          <p:nvPr/>
        </p:nvSpPr>
        <p:spPr>
          <a:xfrm>
            <a:off x="6967281" y="4140705"/>
            <a:ext cx="693896" cy="419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square" lIns="91439" tIns="91439" rIns="91439" bIns="91439" numCol="1" anchor="ctr">
            <a:spAutoFit/>
          </a:bodyPr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13545" defTabSz="914400">
              <a:lnSpc>
                <a:spcPct val="60000"/>
              </a:lnSpc>
              <a:defRPr sz="1800" b="1" spc="-9">
                <a:solidFill>
                  <a:srgbClr val="2A3640"/>
                </a:solidFill>
              </a:defRPr>
            </a:pPr>
            <a:r>
              <a:rPr lang="es-ES" sz="1200" spc="-15" dirty="0"/>
              <a:t>11,050</a:t>
            </a:r>
            <a:br>
              <a:rPr sz="1200" dirty="0"/>
            </a:br>
            <a:r>
              <a:rPr lang="es-ES" sz="1200" dirty="0"/>
              <a:t>sites</a:t>
            </a:r>
            <a:endParaRPr sz="1200" dirty="0"/>
          </a:p>
        </p:txBody>
      </p:sp>
      <p:sp>
        <p:nvSpPr>
          <p:cNvPr id="133" name="118 Rectángulo redondeado"/>
          <p:cNvSpPr/>
          <p:nvPr/>
        </p:nvSpPr>
        <p:spPr>
          <a:xfrm>
            <a:off x="8062472" y="2688839"/>
            <a:ext cx="693896" cy="419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square" lIns="91439" tIns="91439" rIns="91439" bIns="91439" numCol="1" anchor="ctr">
            <a:spAutoFit/>
          </a:bodyPr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13545" defTabSz="914400">
              <a:lnSpc>
                <a:spcPct val="60000"/>
              </a:lnSpc>
              <a:defRPr sz="1800" b="1" spc="-9">
                <a:solidFill>
                  <a:srgbClr val="2A3640"/>
                </a:solidFill>
              </a:defRPr>
            </a:pPr>
            <a:r>
              <a:rPr lang="es-ES_tradnl" sz="1200" spc="-15" dirty="0"/>
              <a:t>5,876</a:t>
            </a:r>
            <a:br>
              <a:rPr sz="1200" dirty="0"/>
            </a:br>
            <a:r>
              <a:rPr lang="es-ES" sz="1200" dirty="0"/>
              <a:t>sites</a:t>
            </a:r>
            <a:endParaRPr sz="1200" dirty="0"/>
          </a:p>
        </p:txBody>
      </p:sp>
      <p:sp>
        <p:nvSpPr>
          <p:cNvPr id="134" name="118 Rectángulo redondeado"/>
          <p:cNvSpPr/>
          <p:nvPr/>
        </p:nvSpPr>
        <p:spPr>
          <a:xfrm>
            <a:off x="8103582" y="3399200"/>
            <a:ext cx="693897" cy="419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91439" tIns="91439" rIns="91439" bIns="91439" numCol="1" anchor="ctr">
            <a:spAutoFit/>
          </a:bodyPr>
          <a:lstStyle/>
          <a:p>
            <a:pPr marR="13545" defTabSz="914400">
              <a:lnSpc>
                <a:spcPct val="60000"/>
              </a:lnSpc>
              <a:defRPr sz="1800" b="1" spc="-9">
                <a:solidFill>
                  <a:srgbClr val="2A3640"/>
                </a:solidFill>
              </a:defRPr>
            </a:pPr>
            <a:r>
              <a:rPr lang="es-ES" sz="1200" spc="-15" dirty="0"/>
              <a:t>4,900</a:t>
            </a:r>
            <a:br>
              <a:rPr sz="1200" dirty="0"/>
            </a:br>
            <a:r>
              <a:rPr lang="es-ES" sz="1200" dirty="0"/>
              <a:t>sites</a:t>
            </a:r>
            <a:endParaRPr sz="1200" dirty="0"/>
          </a:p>
        </p:txBody>
      </p:sp>
      <p:sp>
        <p:nvSpPr>
          <p:cNvPr id="135" name="118 Rectángulo redondeado"/>
          <p:cNvSpPr/>
          <p:nvPr/>
        </p:nvSpPr>
        <p:spPr>
          <a:xfrm>
            <a:off x="8062472" y="3049439"/>
            <a:ext cx="693896" cy="419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91439" tIns="91439" rIns="91439" bIns="91439" numCol="1" anchor="ctr">
            <a:spAutoFit/>
          </a:bodyPr>
          <a:lstStyle/>
          <a:p>
            <a:pPr marR="13545" defTabSz="914400">
              <a:lnSpc>
                <a:spcPct val="60000"/>
              </a:lnSpc>
              <a:defRPr sz="1800" b="1" spc="-9">
                <a:solidFill>
                  <a:srgbClr val="2A3640"/>
                </a:solidFill>
              </a:defRPr>
            </a:pPr>
            <a:r>
              <a:rPr sz="1200" spc="-15" dirty="0"/>
              <a:t>5</a:t>
            </a:r>
            <a:r>
              <a:rPr lang="es-ES_tradnl" sz="1200" spc="-15" dirty="0"/>
              <a:t>,200</a:t>
            </a:r>
            <a:br>
              <a:rPr sz="1200" dirty="0"/>
            </a:br>
            <a:r>
              <a:rPr lang="es-ES" sz="1200" dirty="0"/>
              <a:t>sites</a:t>
            </a:r>
            <a:endParaRPr sz="1200" dirty="0"/>
          </a:p>
        </p:txBody>
      </p:sp>
      <p:pic>
        <p:nvPicPr>
          <p:cNvPr id="136" name="Imagen 97">
            <a:extLst>
              <a:ext uri="{FF2B5EF4-FFF2-40B4-BE49-F238E27FC236}">
                <a16:creationId xmlns:a16="http://schemas.microsoft.com/office/drawing/2014/main" id="{661F1D75-5A2C-4AD9-BEEB-847C7969D813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3427" y="3118342"/>
            <a:ext cx="347313" cy="260484"/>
          </a:xfrm>
          <a:prstGeom prst="rect">
            <a:avLst/>
          </a:prstGeom>
          <a:noFill/>
        </p:spPr>
      </p:pic>
      <p:pic>
        <p:nvPicPr>
          <p:cNvPr id="137" name="Austria">
            <a:extLst>
              <a:ext uri="{FF2B5EF4-FFF2-40B4-BE49-F238E27FC236}">
                <a16:creationId xmlns:a16="http://schemas.microsoft.com/office/drawing/2014/main" id="{4ADC56D5-E442-4F83-88F2-9D669E9D0C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09677" y="3448070"/>
            <a:ext cx="289363" cy="270940"/>
          </a:xfrm>
          <a:prstGeom prst="rect">
            <a:avLst/>
          </a:prstGeom>
        </p:spPr>
      </p:pic>
      <p:sp>
        <p:nvSpPr>
          <p:cNvPr id="138" name="118 Rectángulo redondeado"/>
          <p:cNvSpPr/>
          <p:nvPr/>
        </p:nvSpPr>
        <p:spPr>
          <a:xfrm>
            <a:off x="8142786" y="4518985"/>
            <a:ext cx="693897" cy="419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91439" tIns="91439" rIns="91439" bIns="91439" numCol="1" anchor="ctr">
            <a:spAutoFit/>
          </a:bodyPr>
          <a:lstStyle/>
          <a:p>
            <a:pPr marR="13545" defTabSz="914400">
              <a:lnSpc>
                <a:spcPct val="60000"/>
              </a:lnSpc>
              <a:defRPr sz="1800" b="1" spc="-9">
                <a:solidFill>
                  <a:srgbClr val="2A3640"/>
                </a:solidFill>
              </a:defRPr>
            </a:pPr>
            <a:r>
              <a:rPr lang="es-ES" sz="1200" spc="-15" dirty="0"/>
              <a:t>1,900</a:t>
            </a:r>
            <a:br>
              <a:rPr sz="1200" dirty="0"/>
            </a:br>
            <a:r>
              <a:rPr lang="es-ES" sz="1200" dirty="0"/>
              <a:t>sites</a:t>
            </a:r>
            <a:endParaRPr sz="1200" dirty="0"/>
          </a:p>
        </p:txBody>
      </p:sp>
      <p:pic>
        <p:nvPicPr>
          <p:cNvPr id="139" name="Picture 4" descr="Other languages | Asociación Arrabal-AID">
            <a:extLst>
              <a:ext uri="{FF2B5EF4-FFF2-40B4-BE49-F238E27FC236}">
                <a16:creationId xmlns:a16="http://schemas.microsoft.com/office/drawing/2014/main" id="{F7D62662-5053-A042-85B1-B3E0BA82CD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558" y="3470513"/>
            <a:ext cx="251725" cy="251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0" name="118 Rectángulo redondeado"/>
          <p:cNvSpPr/>
          <p:nvPr/>
        </p:nvSpPr>
        <p:spPr>
          <a:xfrm>
            <a:off x="6961092" y="3399200"/>
            <a:ext cx="693896" cy="4192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91439" tIns="91439" rIns="91439" bIns="91439" numCol="1" anchor="ctr">
            <a:spAutoFit/>
          </a:bodyPr>
          <a:lstStyle/>
          <a:p>
            <a:pPr marR="13545" defTabSz="914400">
              <a:lnSpc>
                <a:spcPct val="60000"/>
              </a:lnSpc>
              <a:defRPr sz="1800" b="1" spc="-9">
                <a:solidFill>
                  <a:srgbClr val="2A3640"/>
                </a:solidFill>
              </a:defRPr>
            </a:pPr>
            <a:r>
              <a:rPr lang="es-ES_tradnl" sz="1200" spc="-15" dirty="0"/>
              <a:t>20,390</a:t>
            </a:r>
            <a:br>
              <a:rPr sz="1200" dirty="0"/>
            </a:br>
            <a:r>
              <a:rPr lang="es-ES" sz="1200" dirty="0"/>
              <a:t>sites</a:t>
            </a:r>
            <a:endParaRPr sz="1200" dirty="0"/>
          </a:p>
        </p:txBody>
      </p:sp>
      <p:pic>
        <p:nvPicPr>
          <p:cNvPr id="141" name="Imagen 100">
            <a:extLst>
              <a:ext uri="{FF2B5EF4-FFF2-40B4-BE49-F238E27FC236}">
                <a16:creationId xmlns:a16="http://schemas.microsoft.com/office/drawing/2014/main" id="{283A8D4B-17EA-4E1C-AD65-BA28A983144A}"/>
              </a:ext>
            </a:extLst>
          </p:cNvPr>
          <p:cNvPicPr>
            <a:picLocks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743" y="4585130"/>
            <a:ext cx="370787" cy="268685"/>
          </a:xfrm>
          <a:prstGeom prst="rect">
            <a:avLst/>
          </a:prstGeom>
          <a:noFill/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E3F5E391-FD1D-4DE8-BBCF-D9482B3BB4F4}"/>
              </a:ext>
            </a:extLst>
          </p:cNvPr>
          <p:cNvSpPr/>
          <p:nvPr/>
        </p:nvSpPr>
        <p:spPr>
          <a:xfrm>
            <a:off x="6907321" y="2439633"/>
            <a:ext cx="73481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400" b="1" spc="-27" dirty="0">
                <a:solidFill>
                  <a:schemeClr val="accent4"/>
                </a:solidFill>
              </a:rPr>
              <a:t>sites (*)</a:t>
            </a:r>
          </a:p>
        </p:txBody>
      </p:sp>
    </p:spTree>
    <p:extLst>
      <p:ext uri="{BB962C8B-B14F-4D97-AF65-F5344CB8AC3E}">
        <p14:creationId xmlns:p14="http://schemas.microsoft.com/office/powerpoint/2010/main" val="34642343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8">
            <a:extLst>
              <a:ext uri="{FF2B5EF4-FFF2-40B4-BE49-F238E27FC236}">
                <a16:creationId xmlns:a16="http://schemas.microsoft.com/office/drawing/2014/main" id="{E10A6B02-61D8-0344-927C-E263B618F2F2}"/>
              </a:ext>
            </a:extLst>
          </p:cNvPr>
          <p:cNvSpPr txBox="1">
            <a:spLocks/>
          </p:cNvSpPr>
          <p:nvPr/>
        </p:nvSpPr>
        <p:spPr>
          <a:xfrm>
            <a:off x="392213" y="77819"/>
            <a:ext cx="7631009" cy="63771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s-ES" sz="3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Calibri"/>
              </a:defRPr>
            </a:lvl1pPr>
          </a:lstStyle>
          <a:p>
            <a:r>
              <a:rPr lang="en-US" sz="1800" dirty="0"/>
              <a:t>Cellnex’s Growth Story</a:t>
            </a:r>
          </a:p>
          <a:p>
            <a:endParaRPr lang="en-US" sz="1800" dirty="0"/>
          </a:p>
        </p:txBody>
      </p:sp>
      <p:sp>
        <p:nvSpPr>
          <p:cNvPr id="7" name="Rectangle 9"/>
          <p:cNvSpPr/>
          <p:nvPr/>
        </p:nvSpPr>
        <p:spPr>
          <a:xfrm>
            <a:off x="305388" y="392364"/>
            <a:ext cx="74789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118897"/>
                </a:solidFill>
              </a:rPr>
              <a:t>Revenues by business line and EBITDA by country</a:t>
            </a:r>
            <a:endParaRPr lang="es-ES" sz="1600" dirty="0">
              <a:solidFill>
                <a:srgbClr val="118897"/>
              </a:solidFill>
            </a:endParaRPr>
          </a:p>
        </p:txBody>
      </p:sp>
      <p:sp>
        <p:nvSpPr>
          <p:cNvPr id="6" name="Rounded Rectangle 11"/>
          <p:cNvSpPr txBox="1"/>
          <p:nvPr/>
        </p:nvSpPr>
        <p:spPr>
          <a:xfrm>
            <a:off x="-861079" y="1115023"/>
            <a:ext cx="5946168" cy="21544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lvl="2" indent="0" algn="ctr" defTabSz="914400">
              <a:spcBef>
                <a:spcPts val="300"/>
              </a:spcBef>
              <a:defRPr sz="2800" b="1">
                <a:solidFill>
                  <a:srgbClr val="425563"/>
                </a:solidFill>
              </a:defRPr>
            </a:pPr>
            <a:r>
              <a:rPr sz="1400" dirty="0"/>
              <a:t>Contribution of income by business lines</a:t>
            </a:r>
          </a:p>
        </p:txBody>
      </p:sp>
      <p:sp>
        <p:nvSpPr>
          <p:cNvPr id="8" name="Rounded Rectangle 11"/>
          <p:cNvSpPr txBox="1"/>
          <p:nvPr/>
        </p:nvSpPr>
        <p:spPr>
          <a:xfrm>
            <a:off x="3778072" y="1132372"/>
            <a:ext cx="5191640" cy="21544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lvl="2" indent="0" algn="ctr" defTabSz="914400">
              <a:spcBef>
                <a:spcPts val="300"/>
              </a:spcBef>
              <a:defRPr sz="2800" b="1">
                <a:solidFill>
                  <a:srgbClr val="425563"/>
                </a:solidFill>
              </a:defRPr>
            </a:pPr>
            <a:r>
              <a:rPr sz="1400" dirty="0"/>
              <a:t>Contribution to EBITDA by country</a:t>
            </a:r>
          </a:p>
        </p:txBody>
      </p:sp>
      <p:graphicFrame>
        <p:nvGraphicFramePr>
          <p:cNvPr id="39" name="Gráfico 7"/>
          <p:cNvGraphicFramePr/>
          <p:nvPr>
            <p:extLst>
              <p:ext uri="{D42A27DB-BD31-4B8C-83A1-F6EECF244321}">
                <p14:modId xmlns:p14="http://schemas.microsoft.com/office/powerpoint/2010/main" val="1214198526"/>
              </p:ext>
            </p:extLst>
          </p:nvPr>
        </p:nvGraphicFramePr>
        <p:xfrm>
          <a:off x="-490898" y="2027194"/>
          <a:ext cx="3681589" cy="15964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0" name="CuadroTexto 81"/>
          <p:cNvSpPr/>
          <p:nvPr/>
        </p:nvSpPr>
        <p:spPr>
          <a:xfrm>
            <a:off x="1242304" y="1695126"/>
            <a:ext cx="739415" cy="4308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/>
          <a:p>
            <a:pPr algn="ctr" defTabSz="914400">
              <a:defRPr b="1"/>
            </a:pPr>
            <a:r>
              <a:rPr lang="es-ES_tradnl" sz="2200" dirty="0"/>
              <a:t>4</a:t>
            </a:r>
            <a:r>
              <a:rPr sz="2200" baseline="30000" dirty="0"/>
              <a:t>%</a:t>
            </a:r>
          </a:p>
        </p:txBody>
      </p:sp>
      <p:sp>
        <p:nvSpPr>
          <p:cNvPr id="41" name="Rectangle 1"/>
          <p:cNvSpPr/>
          <p:nvPr/>
        </p:nvSpPr>
        <p:spPr>
          <a:xfrm>
            <a:off x="2392130" y="2282080"/>
            <a:ext cx="149641" cy="874765"/>
          </a:xfrm>
          <a:prstGeom prst="line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/>
          <a:p>
            <a:pPr algn="ctr" defTabSz="914400">
              <a:lnSpc>
                <a:spcPct val="70000"/>
              </a:lnSpc>
              <a:defRPr b="1"/>
            </a:pPr>
            <a:endParaRPr lang="es-ES" sz="1600" dirty="0"/>
          </a:p>
          <a:p>
            <a:pPr algn="ctr" defTabSz="914400">
              <a:lnSpc>
                <a:spcPct val="70000"/>
              </a:lnSpc>
              <a:defRPr b="1"/>
            </a:pPr>
            <a:endParaRPr lang="es-ES" sz="1600" dirty="0"/>
          </a:p>
          <a:p>
            <a:pPr algn="ctr" defTabSz="914400">
              <a:lnSpc>
                <a:spcPct val="90000"/>
              </a:lnSpc>
              <a:defRPr sz="5200" b="1"/>
            </a:pPr>
            <a:r>
              <a:rPr lang="es-ES_tradnl" sz="2200" dirty="0"/>
              <a:t>€2.5Bn</a:t>
            </a:r>
          </a:p>
        </p:txBody>
      </p:sp>
      <p:sp>
        <p:nvSpPr>
          <p:cNvPr id="42" name="CuadroTexto 81"/>
          <p:cNvSpPr/>
          <p:nvPr/>
        </p:nvSpPr>
        <p:spPr>
          <a:xfrm>
            <a:off x="2944617" y="2654007"/>
            <a:ext cx="1001640" cy="4308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/>
          <a:p>
            <a:pPr algn="ctr" defTabSz="914400">
              <a:defRPr b="1"/>
            </a:pPr>
            <a:r>
              <a:rPr lang="es-ES_tradnl" sz="2200" dirty="0"/>
              <a:t>87</a:t>
            </a:r>
            <a:r>
              <a:rPr sz="2200" baseline="30000" dirty="0"/>
              <a:t>%</a:t>
            </a:r>
          </a:p>
        </p:txBody>
      </p:sp>
      <p:graphicFrame>
        <p:nvGraphicFramePr>
          <p:cNvPr id="43" name="Gráfico 7"/>
          <p:cNvGraphicFramePr/>
          <p:nvPr>
            <p:extLst>
              <p:ext uri="{D42A27DB-BD31-4B8C-83A1-F6EECF244321}">
                <p14:modId xmlns:p14="http://schemas.microsoft.com/office/powerpoint/2010/main" val="1630709896"/>
              </p:ext>
            </p:extLst>
          </p:nvPr>
        </p:nvGraphicFramePr>
        <p:xfrm>
          <a:off x="6066223" y="2078064"/>
          <a:ext cx="1575814" cy="1575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6" name="CuadroTexto 81"/>
          <p:cNvSpPr/>
          <p:nvPr/>
        </p:nvSpPr>
        <p:spPr>
          <a:xfrm>
            <a:off x="5381046" y="2309839"/>
            <a:ext cx="746747" cy="4308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/>
          <a:p>
            <a:pPr algn="ctr" defTabSz="914400">
              <a:defRPr b="1"/>
            </a:pPr>
            <a:r>
              <a:rPr lang="es-ES_tradnl" sz="2200" dirty="0"/>
              <a:t>45</a:t>
            </a:r>
            <a:r>
              <a:rPr sz="2200" baseline="30000" dirty="0"/>
              <a:t>%</a:t>
            </a:r>
          </a:p>
        </p:txBody>
      </p:sp>
      <p:pic>
        <p:nvPicPr>
          <p:cNvPr id="47" name="Imatge" descr="Imatge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0047" y="3076047"/>
            <a:ext cx="488239" cy="292944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48" name="Imatge" descr="Imatge"/>
          <p:cNvPicPr>
            <a:picLocks noChangeAspect="1"/>
          </p:cNvPicPr>
          <p:nvPr/>
        </p:nvPicPr>
        <p:blipFill>
          <a:blip r:embed="rId6"/>
          <a:srcRect l="5933"/>
          <a:stretch>
            <a:fillRect/>
          </a:stretch>
        </p:blipFill>
        <p:spPr>
          <a:xfrm rot="16200000">
            <a:off x="5224362" y="2725630"/>
            <a:ext cx="348169" cy="292943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49" name="Imatge" descr="Imatge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4763736" y="2736123"/>
            <a:ext cx="488239" cy="292943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51" name="Imatge" descr="Imatge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7420031" y="2039742"/>
            <a:ext cx="370132" cy="292943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52" name="Imatge" descr="Imatge"/>
          <p:cNvPicPr>
            <a:picLocks noChangeAspect="1"/>
          </p:cNvPicPr>
          <p:nvPr/>
        </p:nvPicPr>
        <p:blipFill>
          <a:blip r:embed="rId9"/>
          <a:srcRect r="24190"/>
          <a:stretch>
            <a:fillRect/>
          </a:stretch>
        </p:blipFill>
        <p:spPr>
          <a:xfrm>
            <a:off x="6222914" y="1816764"/>
            <a:ext cx="370061" cy="292886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53" name="Imatge" descr="Imatge"/>
          <p:cNvPicPr>
            <a:picLocks noChangeAspect="1"/>
          </p:cNvPicPr>
          <p:nvPr/>
        </p:nvPicPr>
        <p:blipFill>
          <a:blip r:embed="rId10"/>
          <a:srcRect t="403" b="403"/>
          <a:stretch>
            <a:fillRect/>
          </a:stretch>
        </p:blipFill>
        <p:spPr>
          <a:xfrm>
            <a:off x="5561451" y="2740724"/>
            <a:ext cx="488239" cy="292943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54" name="Imatge" descr="Imatge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30909" y="3084962"/>
            <a:ext cx="370132" cy="292944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sp>
        <p:nvSpPr>
          <p:cNvPr id="55" name="CuadroTexto 81"/>
          <p:cNvSpPr/>
          <p:nvPr/>
        </p:nvSpPr>
        <p:spPr>
          <a:xfrm>
            <a:off x="870345" y="2376060"/>
            <a:ext cx="1001640" cy="4308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/>
          <a:p>
            <a:pPr algn="ctr" defTabSz="914400">
              <a:defRPr b="1"/>
            </a:pPr>
            <a:r>
              <a:rPr lang="es-ES_tradnl" sz="2200" dirty="0"/>
              <a:t>9</a:t>
            </a:r>
            <a:r>
              <a:rPr sz="2200" baseline="30000" dirty="0"/>
              <a:t>%</a:t>
            </a:r>
          </a:p>
        </p:txBody>
      </p:sp>
      <p:sp>
        <p:nvSpPr>
          <p:cNvPr id="56" name="CuadroTexto 55"/>
          <p:cNvSpPr txBox="1"/>
          <p:nvPr/>
        </p:nvSpPr>
        <p:spPr>
          <a:xfrm>
            <a:off x="3172972" y="2963709"/>
            <a:ext cx="259122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900" dirty="0"/>
              <a:t>Telecom</a:t>
            </a:r>
          </a:p>
          <a:p>
            <a:r>
              <a:rPr lang="es-ES_tradnl" sz="900" dirty="0"/>
              <a:t>Infrastructure </a:t>
            </a:r>
          </a:p>
          <a:p>
            <a:r>
              <a:rPr lang="es-ES_tradnl" sz="900" dirty="0"/>
              <a:t>Services (TIS)</a:t>
            </a:r>
            <a:endParaRPr lang="es-ES" sz="900" dirty="0"/>
          </a:p>
        </p:txBody>
      </p:sp>
      <p:sp>
        <p:nvSpPr>
          <p:cNvPr id="57" name="CuadroTexto 56"/>
          <p:cNvSpPr txBox="1"/>
          <p:nvPr/>
        </p:nvSpPr>
        <p:spPr>
          <a:xfrm>
            <a:off x="2075735" y="2848292"/>
            <a:ext cx="15541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dirty="0"/>
              <a:t>2021</a:t>
            </a:r>
            <a:endParaRPr lang="es-ES" sz="1600" dirty="0"/>
          </a:p>
        </p:txBody>
      </p:sp>
      <p:sp>
        <p:nvSpPr>
          <p:cNvPr id="58" name="CuadroTexto 81"/>
          <p:cNvSpPr/>
          <p:nvPr/>
        </p:nvSpPr>
        <p:spPr>
          <a:xfrm>
            <a:off x="7131505" y="1624478"/>
            <a:ext cx="746747" cy="4308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/>
          <a:p>
            <a:pPr algn="ctr" defTabSz="914400">
              <a:defRPr b="1"/>
            </a:pPr>
            <a:r>
              <a:rPr lang="es-ES_tradnl" sz="2200" dirty="0"/>
              <a:t>20</a:t>
            </a:r>
            <a:r>
              <a:rPr sz="2200" baseline="30000" dirty="0"/>
              <a:t>%</a:t>
            </a:r>
          </a:p>
        </p:txBody>
      </p:sp>
      <p:sp>
        <p:nvSpPr>
          <p:cNvPr id="59" name="Rectángulo 58"/>
          <p:cNvSpPr/>
          <p:nvPr/>
        </p:nvSpPr>
        <p:spPr>
          <a:xfrm>
            <a:off x="6334691" y="2632413"/>
            <a:ext cx="997389" cy="3970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>
              <a:lnSpc>
                <a:spcPct val="90000"/>
              </a:lnSpc>
              <a:defRPr sz="5200" b="1"/>
            </a:pPr>
            <a:r>
              <a:rPr lang="es-ES_tradnl" sz="2200" dirty="0"/>
              <a:t>€1.9Bn</a:t>
            </a:r>
          </a:p>
        </p:txBody>
      </p:sp>
      <p:sp>
        <p:nvSpPr>
          <p:cNvPr id="60" name="CuadroTexto 59"/>
          <p:cNvSpPr txBox="1"/>
          <p:nvPr/>
        </p:nvSpPr>
        <p:spPr>
          <a:xfrm>
            <a:off x="6551604" y="2875270"/>
            <a:ext cx="696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dirty="0"/>
              <a:t>2021</a:t>
            </a:r>
            <a:endParaRPr lang="es-ES" sz="1600" dirty="0"/>
          </a:p>
        </p:txBody>
      </p:sp>
      <p:sp>
        <p:nvSpPr>
          <p:cNvPr id="61" name="CuadroTexto 60"/>
          <p:cNvSpPr txBox="1"/>
          <p:nvPr/>
        </p:nvSpPr>
        <p:spPr>
          <a:xfrm>
            <a:off x="-738724" y="1991237"/>
            <a:ext cx="2591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/>
              <a:t>Broadcasting</a:t>
            </a:r>
          </a:p>
          <a:p>
            <a:pPr algn="r"/>
            <a:r>
              <a:rPr lang="en-GB" sz="900" dirty="0"/>
              <a:t>infrastructure</a:t>
            </a:r>
          </a:p>
        </p:txBody>
      </p:sp>
      <p:sp>
        <p:nvSpPr>
          <p:cNvPr id="62" name="CuadroTexto 61"/>
          <p:cNvSpPr txBox="1"/>
          <p:nvPr/>
        </p:nvSpPr>
        <p:spPr>
          <a:xfrm>
            <a:off x="-998612" y="2662352"/>
            <a:ext cx="2591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/>
              <a:t>Other network</a:t>
            </a:r>
          </a:p>
          <a:p>
            <a:pPr algn="r"/>
            <a:r>
              <a:rPr lang="en-US" sz="900" dirty="0"/>
              <a:t> services</a:t>
            </a:r>
          </a:p>
        </p:txBody>
      </p:sp>
      <p:sp>
        <p:nvSpPr>
          <p:cNvPr id="63" name="CuadroTexto 81"/>
          <p:cNvSpPr/>
          <p:nvPr/>
        </p:nvSpPr>
        <p:spPr>
          <a:xfrm>
            <a:off x="5849541" y="1463424"/>
            <a:ext cx="746747" cy="4308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tIns="45719" rIns="45719" bIns="45719" numCol="1" anchor="t">
            <a:spAutoFit/>
          </a:bodyPr>
          <a:lstStyle/>
          <a:p>
            <a:pPr algn="ctr" defTabSz="914400">
              <a:defRPr b="1"/>
            </a:pPr>
            <a:r>
              <a:rPr lang="es-ES_tradnl" sz="2200" dirty="0"/>
              <a:t>15</a:t>
            </a:r>
            <a:r>
              <a:rPr sz="2200" baseline="30000" dirty="0"/>
              <a:t>%</a:t>
            </a:r>
          </a:p>
        </p:txBody>
      </p:sp>
      <p:sp>
        <p:nvSpPr>
          <p:cNvPr id="30" name="CuadroTexto 81">
            <a:extLst>
              <a:ext uri="{FF2B5EF4-FFF2-40B4-BE49-F238E27FC236}">
                <a16:creationId xmlns:a16="http://schemas.microsoft.com/office/drawing/2014/main" id="{44F5502C-0A29-4CC0-9666-69911F911ED0}"/>
              </a:ext>
            </a:extLst>
          </p:cNvPr>
          <p:cNvSpPr/>
          <p:nvPr/>
        </p:nvSpPr>
        <p:spPr>
          <a:xfrm>
            <a:off x="7515888" y="2859952"/>
            <a:ext cx="746747" cy="4308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/>
          <a:p>
            <a:pPr algn="ctr" defTabSz="914400">
              <a:defRPr b="1"/>
            </a:pPr>
            <a:r>
              <a:rPr lang="es-ES_tradnl" sz="2200" dirty="0"/>
              <a:t>20</a:t>
            </a:r>
            <a:r>
              <a:rPr sz="2200" baseline="30000" dirty="0"/>
              <a:t>%</a:t>
            </a:r>
          </a:p>
        </p:txBody>
      </p:sp>
      <p:pic>
        <p:nvPicPr>
          <p:cNvPr id="31" name="Imatge" descr="Imatge">
            <a:extLst>
              <a:ext uri="{FF2B5EF4-FFF2-40B4-BE49-F238E27FC236}">
                <a16:creationId xmlns:a16="http://schemas.microsoft.com/office/drawing/2014/main" id="{C311457C-AA41-472F-857C-A99DCC0FFCD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7757173" y="3290836"/>
            <a:ext cx="349210" cy="276385"/>
          </a:xfrm>
          <a:prstGeom prst="rect">
            <a:avLst/>
          </a:prstGeom>
          <a:ln w="12700" cap="flat">
            <a:noFill/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</a:effectLst>
        </p:spPr>
      </p:pic>
      <p:pic>
        <p:nvPicPr>
          <p:cNvPr id="32" name="Imagen 97">
            <a:extLst>
              <a:ext uri="{FF2B5EF4-FFF2-40B4-BE49-F238E27FC236}">
                <a16:creationId xmlns:a16="http://schemas.microsoft.com/office/drawing/2014/main" id="{533A4478-FEE6-4CBE-8925-97F2A8BD6927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1840" y="3080393"/>
            <a:ext cx="410098" cy="307572"/>
          </a:xfrm>
          <a:prstGeom prst="rect">
            <a:avLst/>
          </a:prstGeom>
          <a:noFill/>
        </p:spPr>
      </p:pic>
      <p:pic>
        <p:nvPicPr>
          <p:cNvPr id="33" name="Austria">
            <a:extLst>
              <a:ext uri="{FF2B5EF4-FFF2-40B4-BE49-F238E27FC236}">
                <a16:creationId xmlns:a16="http://schemas.microsoft.com/office/drawing/2014/main" id="{2A6B0852-7459-4DAB-9C22-AEC85F6B9A7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588258" y="3404024"/>
            <a:ext cx="414296" cy="387918"/>
          </a:xfrm>
          <a:prstGeom prst="rect">
            <a:avLst/>
          </a:prstGeom>
          <a:effectLst>
            <a:outerShdw blurRad="355600" dist="50800" dir="5400000" algn="ctr" rotWithShape="0">
              <a:srgbClr val="000000">
                <a:alpha val="75000"/>
              </a:srgbClr>
            </a:outerShdw>
          </a:effectLst>
        </p:spPr>
      </p:pic>
      <p:pic>
        <p:nvPicPr>
          <p:cNvPr id="34" name="Picture 4" descr="Other languages | Asociación Arrabal-AID">
            <a:extLst>
              <a:ext uri="{FF2B5EF4-FFF2-40B4-BE49-F238E27FC236}">
                <a16:creationId xmlns:a16="http://schemas.microsoft.com/office/drawing/2014/main" id="{EDE2C7B9-CCE0-4376-BE56-91907097C0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1454" y="3440624"/>
            <a:ext cx="308270" cy="308270"/>
          </a:xfrm>
          <a:prstGeom prst="rect">
            <a:avLst/>
          </a:prstGeom>
          <a:noFill/>
          <a:effectLst>
            <a:outerShdw blurRad="355600" dist="50800" dir="5400000" algn="ctr" rotWithShape="0">
              <a:srgbClr val="000000">
                <a:alpha val="7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Imagen 100">
            <a:extLst>
              <a:ext uri="{FF2B5EF4-FFF2-40B4-BE49-F238E27FC236}">
                <a16:creationId xmlns:a16="http://schemas.microsoft.com/office/drawing/2014/main" id="{CFD221EB-B4AD-43A2-BC9B-6C76BD73326C}"/>
              </a:ext>
            </a:extLst>
          </p:cNvPr>
          <p:cNvPicPr>
            <a:picLocks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3095" y="3443223"/>
            <a:ext cx="448880" cy="325274"/>
          </a:xfrm>
          <a:prstGeom prst="rect">
            <a:avLst/>
          </a:prstGeom>
          <a:noFill/>
          <a:effectLst>
            <a:outerShdw blurRad="355600" dist="50800" dir="5400000" algn="ctr" rotWithShape="0">
              <a:srgbClr val="000000">
                <a:alpha val="7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627551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28">
            <a:extLst>
              <a:ext uri="{FF2B5EF4-FFF2-40B4-BE49-F238E27FC236}">
                <a16:creationId xmlns:a16="http://schemas.microsoft.com/office/drawing/2014/main" id="{E10A6B02-61D8-0344-927C-E263B618F2F2}"/>
              </a:ext>
            </a:extLst>
          </p:cNvPr>
          <p:cNvSpPr txBox="1">
            <a:spLocks/>
          </p:cNvSpPr>
          <p:nvPr/>
        </p:nvSpPr>
        <p:spPr>
          <a:xfrm>
            <a:off x="392213" y="77819"/>
            <a:ext cx="7631009" cy="63771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s-ES" sz="3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Calibri"/>
              </a:defRPr>
            </a:lvl1pPr>
          </a:lstStyle>
          <a:p>
            <a:r>
              <a:rPr lang="en-US" sz="1800" dirty="0"/>
              <a:t>Cellnex’s growth drivers</a:t>
            </a:r>
          </a:p>
          <a:p>
            <a:endParaRPr lang="en-US" sz="1800" dirty="0"/>
          </a:p>
        </p:txBody>
      </p:sp>
      <p:sp>
        <p:nvSpPr>
          <p:cNvPr id="58" name="Rectangle 9"/>
          <p:cNvSpPr/>
          <p:nvPr/>
        </p:nvSpPr>
        <p:spPr>
          <a:xfrm>
            <a:off x="305388" y="392364"/>
            <a:ext cx="73059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118897"/>
                </a:solidFill>
              </a:rPr>
              <a:t>5G and the challenges of permanent connectivity</a:t>
            </a:r>
            <a:endParaRPr lang="es-ES" sz="1600" dirty="0">
              <a:solidFill>
                <a:srgbClr val="118897"/>
              </a:solidFill>
            </a:endParaRPr>
          </a:p>
        </p:txBody>
      </p:sp>
      <p:grpSp>
        <p:nvGrpSpPr>
          <p:cNvPr id="59" name="Group 7"/>
          <p:cNvGrpSpPr/>
          <p:nvPr/>
        </p:nvGrpSpPr>
        <p:grpSpPr>
          <a:xfrm>
            <a:off x="1026107" y="1089419"/>
            <a:ext cx="1858927" cy="2249054"/>
            <a:chOff x="534140" y="1613269"/>
            <a:chExt cx="2496842" cy="2998738"/>
          </a:xfrm>
        </p:grpSpPr>
        <p:sp>
          <p:nvSpPr>
            <p:cNvPr id="60" name="Rectángulo 21"/>
            <p:cNvSpPr/>
            <p:nvPr/>
          </p:nvSpPr>
          <p:spPr>
            <a:xfrm>
              <a:off x="534140" y="1870145"/>
              <a:ext cx="2428462" cy="2741862"/>
            </a:xfrm>
            <a:prstGeom prst="rect">
              <a:avLst/>
            </a:prstGeom>
            <a:blipFill dpi="0" rotWithShape="0">
              <a:blip r:embed="rId2">
                <a:lum/>
              </a:blip>
              <a:srcRect/>
              <a:stretch>
                <a:fillRect l="-202105" t="-206235" r="-141967" b="-77302"/>
              </a:stretch>
            </a:blipFill>
            <a:ln>
              <a:noFill/>
            </a:ln>
            <a:effectLst>
              <a:innerShdw blurRad="76200" dist="25400" dir="8100000">
                <a:prstClr val="black">
                  <a:alpha val="35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1000" indent="-81000" algn="ctr">
                <a:buFont typeface="Wingdings" charset="2"/>
                <a:buChar char="§"/>
              </a:pPr>
              <a:endParaRPr lang="es-ES_tradnl" sz="1350"/>
            </a:p>
          </p:txBody>
        </p:sp>
        <p:grpSp>
          <p:nvGrpSpPr>
            <p:cNvPr id="61" name="Group 56"/>
            <p:cNvGrpSpPr/>
            <p:nvPr/>
          </p:nvGrpSpPr>
          <p:grpSpPr>
            <a:xfrm>
              <a:off x="548749" y="2552038"/>
              <a:ext cx="2482233" cy="1647751"/>
              <a:chOff x="580832" y="2736619"/>
              <a:chExt cx="2482233" cy="1647751"/>
            </a:xfrm>
          </p:grpSpPr>
          <p:sp>
            <p:nvSpPr>
              <p:cNvPr id="63" name="Rectangle 12"/>
              <p:cNvSpPr/>
              <p:nvPr/>
            </p:nvSpPr>
            <p:spPr>
              <a:xfrm>
                <a:off x="584771" y="2736619"/>
                <a:ext cx="2478294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1200" b="1" dirty="0" err="1"/>
                  <a:t>Around</a:t>
                </a:r>
                <a:r>
                  <a:rPr lang="es-ES" sz="1200" b="1" dirty="0"/>
                  <a:t> 2022 </a:t>
                </a:r>
                <a:r>
                  <a:rPr lang="es-ES" sz="1200" b="1" dirty="0" err="1"/>
                  <a:t>we</a:t>
                </a:r>
                <a:r>
                  <a:rPr lang="es-ES" sz="1200" b="1" dirty="0"/>
                  <a:t> </a:t>
                </a:r>
                <a:r>
                  <a:rPr lang="es-ES" sz="1200" b="1" dirty="0" err="1"/>
                  <a:t>will</a:t>
                </a:r>
                <a:r>
                  <a:rPr lang="es-ES" sz="1200" b="1" dirty="0"/>
                  <a:t> </a:t>
                </a:r>
                <a:r>
                  <a:rPr lang="es-ES" sz="1200" b="1" dirty="0" err="1"/>
                  <a:t>have</a:t>
                </a:r>
                <a:endParaRPr lang="es-ES" sz="1200" b="1" dirty="0"/>
              </a:p>
            </p:txBody>
          </p:sp>
          <p:sp>
            <p:nvSpPr>
              <p:cNvPr id="64" name="Rectangle 13"/>
              <p:cNvSpPr/>
              <p:nvPr/>
            </p:nvSpPr>
            <p:spPr>
              <a:xfrm>
                <a:off x="580832" y="2944243"/>
                <a:ext cx="1285827" cy="83099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3450" b="1" dirty="0"/>
                  <a:t>29</a:t>
                </a:r>
                <a:r>
                  <a:rPr lang="es-ES" sz="3450" b="1" baseline="30000" dirty="0"/>
                  <a:t>Bn</a:t>
                </a:r>
                <a:endParaRPr lang="en-US" sz="3450" baseline="30000" dirty="0"/>
              </a:p>
            </p:txBody>
          </p:sp>
          <p:sp>
            <p:nvSpPr>
              <p:cNvPr id="65" name="Rectangle 24"/>
              <p:cNvSpPr/>
              <p:nvPr/>
            </p:nvSpPr>
            <p:spPr>
              <a:xfrm>
                <a:off x="603432" y="3548432"/>
                <a:ext cx="1809803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1200" b="1" dirty="0" err="1"/>
                  <a:t>connected</a:t>
                </a:r>
                <a:r>
                  <a:rPr lang="es-ES" sz="1200" b="1" dirty="0"/>
                  <a:t> </a:t>
                </a:r>
                <a:r>
                  <a:rPr lang="es-ES" sz="1200" b="1" dirty="0" err="1"/>
                  <a:t>objects</a:t>
                </a:r>
                <a:endParaRPr lang="en-US" sz="1200" dirty="0"/>
              </a:p>
            </p:txBody>
          </p:sp>
          <p:sp>
            <p:nvSpPr>
              <p:cNvPr id="66" name="Rectangle 26"/>
              <p:cNvSpPr/>
              <p:nvPr/>
            </p:nvSpPr>
            <p:spPr>
              <a:xfrm>
                <a:off x="746695" y="3857892"/>
                <a:ext cx="248124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endParaRPr lang="en-US" sz="1200" dirty="0"/>
              </a:p>
            </p:txBody>
          </p:sp>
          <p:sp>
            <p:nvSpPr>
              <p:cNvPr id="67" name="Rectangle 28"/>
              <p:cNvSpPr/>
              <p:nvPr/>
            </p:nvSpPr>
            <p:spPr>
              <a:xfrm>
                <a:off x="598020" y="4056075"/>
                <a:ext cx="1382718" cy="32829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s-ES" sz="1000" dirty="0" err="1"/>
                  <a:t>Source</a:t>
                </a:r>
                <a:r>
                  <a:rPr lang="es-ES" sz="1000" dirty="0"/>
                  <a:t>: Ericsson</a:t>
                </a:r>
              </a:p>
            </p:txBody>
          </p:sp>
        </p:grpSp>
        <p:sp>
          <p:nvSpPr>
            <p:cNvPr id="62" name="Oval 59"/>
            <p:cNvSpPr/>
            <p:nvPr/>
          </p:nvSpPr>
          <p:spPr>
            <a:xfrm>
              <a:off x="681081" y="1613269"/>
              <a:ext cx="523837" cy="523837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bg1"/>
              </a:solidFill>
            </a:ln>
            <a:effectLst>
              <a:innerShdw blurRad="76200" dist="25400" dir="8100000">
                <a:prstClr val="black">
                  <a:alpha val="35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ct val="35000"/>
                </a:spcAft>
                <a:buSzPct val="90000"/>
              </a:pPr>
              <a:r>
                <a:rPr lang="en-US" sz="3000" b="1" dirty="0">
                  <a:solidFill>
                    <a:schemeClr val="bg2">
                      <a:lumMod val="95000"/>
                    </a:schemeClr>
                  </a:solidFill>
                </a:rPr>
                <a:t>1</a:t>
              </a:r>
              <a:endParaRPr lang="en-US" sz="3600" b="1" dirty="0">
                <a:solidFill>
                  <a:schemeClr val="bg2">
                    <a:lumMod val="95000"/>
                  </a:schemeClr>
                </a:solidFill>
              </a:endParaRPr>
            </a:p>
          </p:txBody>
        </p:sp>
      </p:grpSp>
      <p:grpSp>
        <p:nvGrpSpPr>
          <p:cNvPr id="68" name="Group 8"/>
          <p:cNvGrpSpPr/>
          <p:nvPr/>
        </p:nvGrpSpPr>
        <p:grpSpPr>
          <a:xfrm>
            <a:off x="2915732" y="1489469"/>
            <a:ext cx="1907730" cy="2057673"/>
            <a:chOff x="3053638" y="2146669"/>
            <a:chExt cx="2543642" cy="2743564"/>
          </a:xfrm>
        </p:grpSpPr>
        <p:sp>
          <p:nvSpPr>
            <p:cNvPr id="69" name="Rectángulo 21"/>
            <p:cNvSpPr/>
            <p:nvPr/>
          </p:nvSpPr>
          <p:spPr>
            <a:xfrm>
              <a:off x="3053638" y="2340045"/>
              <a:ext cx="2367189" cy="2550188"/>
            </a:xfrm>
            <a:prstGeom prst="rect">
              <a:avLst/>
            </a:prstGeom>
            <a:blipFill dpi="0" rotWithShape="0">
              <a:blip r:embed="rId2">
                <a:lum/>
              </a:blip>
              <a:srcRect/>
              <a:stretch>
                <a:fillRect l="-202105" t="-206235" r="-141967" b="-77302"/>
              </a:stretch>
            </a:blipFill>
            <a:ln>
              <a:noFill/>
            </a:ln>
            <a:effectLst>
              <a:innerShdw blurRad="76200" dist="25400" dir="8100000">
                <a:prstClr val="black">
                  <a:alpha val="35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1000" indent="-81000" algn="ctr">
                <a:buFont typeface="Wingdings" charset="2"/>
                <a:buChar char="§"/>
              </a:pPr>
              <a:endParaRPr lang="es-ES_tradnl" sz="1350"/>
            </a:p>
          </p:txBody>
        </p:sp>
        <p:sp>
          <p:nvSpPr>
            <p:cNvPr id="70" name="Rectángulo 3"/>
            <p:cNvSpPr/>
            <p:nvPr/>
          </p:nvSpPr>
          <p:spPr>
            <a:xfrm>
              <a:off x="3731664" y="2353566"/>
              <a:ext cx="1865616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1350" b="1" dirty="0">
                  <a:solidFill>
                    <a:schemeClr val="accent4"/>
                  </a:solidFill>
                </a:rPr>
                <a:t>Data </a:t>
              </a:r>
              <a:r>
                <a:rPr lang="es-ES" sz="1350" b="1" dirty="0" err="1">
                  <a:solidFill>
                    <a:schemeClr val="accent4"/>
                  </a:solidFill>
                </a:rPr>
                <a:t>traffic</a:t>
              </a:r>
              <a:endParaRPr lang="es-ES" sz="1350" b="1" dirty="0">
                <a:solidFill>
                  <a:schemeClr val="accent4"/>
                </a:solidFill>
              </a:endParaRPr>
            </a:p>
            <a:p>
              <a:r>
                <a:rPr lang="es-ES" sz="1350" b="1" dirty="0" err="1">
                  <a:solidFill>
                    <a:schemeClr val="accent4"/>
                  </a:solidFill>
                </a:rPr>
                <a:t>growth</a:t>
              </a:r>
              <a:endParaRPr lang="es-ES" sz="135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71" name="Group 55"/>
            <p:cNvGrpSpPr/>
            <p:nvPr/>
          </p:nvGrpSpPr>
          <p:grpSpPr>
            <a:xfrm>
              <a:off x="3086049" y="3078737"/>
              <a:ext cx="2389802" cy="1785010"/>
              <a:chOff x="3024640" y="2774967"/>
              <a:chExt cx="2389802" cy="1785010"/>
            </a:xfrm>
          </p:grpSpPr>
          <p:sp>
            <p:nvSpPr>
              <p:cNvPr id="73" name="Rectangle 99"/>
              <p:cNvSpPr/>
              <p:nvPr/>
            </p:nvSpPr>
            <p:spPr>
              <a:xfrm>
                <a:off x="3025119" y="2774967"/>
                <a:ext cx="1964638" cy="4001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1350" b="1" dirty="0">
                    <a:solidFill>
                      <a:schemeClr val="accent4"/>
                    </a:solidFill>
                  </a:rPr>
                  <a:t>Global data </a:t>
                </a:r>
                <a:r>
                  <a:rPr lang="es-ES" sz="1350" b="1" dirty="0" err="1">
                    <a:solidFill>
                      <a:schemeClr val="accent4"/>
                    </a:solidFill>
                  </a:rPr>
                  <a:t>traffic</a:t>
                </a:r>
                <a:endParaRPr lang="en-US" sz="135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74" name="Rectangle 38"/>
              <p:cNvSpPr/>
              <p:nvPr/>
            </p:nvSpPr>
            <p:spPr>
              <a:xfrm>
                <a:off x="3035412" y="2969918"/>
                <a:ext cx="2011661" cy="61555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2400" dirty="0">
                    <a:solidFill>
                      <a:schemeClr val="accent4"/>
                    </a:solidFill>
                  </a:rPr>
                  <a:t>in </a:t>
                </a:r>
                <a:r>
                  <a:rPr lang="es-ES" sz="2400" dirty="0" err="1">
                    <a:solidFill>
                      <a:schemeClr val="accent4"/>
                    </a:solidFill>
                  </a:rPr>
                  <a:t>mobility</a:t>
                </a:r>
                <a:endParaRPr lang="en-US" sz="2400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75" name="Rectangle 39"/>
              <p:cNvSpPr/>
              <p:nvPr/>
            </p:nvSpPr>
            <p:spPr>
              <a:xfrm>
                <a:off x="3024640" y="3387012"/>
                <a:ext cx="2389802" cy="4308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1500" b="1" dirty="0" err="1">
                    <a:solidFill>
                      <a:schemeClr val="accent4"/>
                    </a:solidFill>
                  </a:rPr>
                  <a:t>will</a:t>
                </a:r>
                <a:r>
                  <a:rPr lang="es-ES" sz="1500" b="1" dirty="0">
                    <a:solidFill>
                      <a:schemeClr val="accent4"/>
                    </a:solidFill>
                  </a:rPr>
                  <a:t> </a:t>
                </a:r>
                <a:r>
                  <a:rPr lang="es-ES" sz="1500" b="1" dirty="0" err="1">
                    <a:solidFill>
                      <a:schemeClr val="accent4"/>
                    </a:solidFill>
                  </a:rPr>
                  <a:t>grow</a:t>
                </a:r>
                <a:r>
                  <a:rPr lang="es-ES" sz="1500" b="1" dirty="0">
                    <a:solidFill>
                      <a:schemeClr val="accent4"/>
                    </a:solidFill>
                  </a:rPr>
                  <a:t> more </a:t>
                </a:r>
                <a:r>
                  <a:rPr lang="es-ES" sz="1500" b="1" dirty="0" err="1">
                    <a:solidFill>
                      <a:schemeClr val="accent4"/>
                    </a:solidFill>
                  </a:rPr>
                  <a:t>than</a:t>
                </a:r>
                <a:endParaRPr lang="en-US" sz="15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76" name="Rectangle 100"/>
              <p:cNvSpPr/>
              <p:nvPr/>
            </p:nvSpPr>
            <p:spPr>
              <a:xfrm>
                <a:off x="3061267" y="3698203"/>
                <a:ext cx="1481602" cy="86177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3600" b="1" dirty="0">
                    <a:solidFill>
                      <a:schemeClr val="accent4"/>
                    </a:solidFill>
                  </a:rPr>
                  <a:t>600</a:t>
                </a:r>
                <a:r>
                  <a:rPr lang="es-ES" sz="3600" b="1" baseline="30000" dirty="0">
                    <a:solidFill>
                      <a:schemeClr val="accent4"/>
                    </a:solidFill>
                  </a:rPr>
                  <a:t>%</a:t>
                </a:r>
                <a:endParaRPr lang="en-US" sz="3600" baseline="30000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77" name="Rectangle 40"/>
              <p:cNvSpPr/>
              <p:nvPr/>
            </p:nvSpPr>
            <p:spPr>
              <a:xfrm>
                <a:off x="4387856" y="3611601"/>
                <a:ext cx="866050" cy="61555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2400" b="1" dirty="0">
                    <a:solidFill>
                      <a:schemeClr val="accent4"/>
                    </a:solidFill>
                  </a:rPr>
                  <a:t>in 5</a:t>
                </a:r>
                <a:endParaRPr lang="en-US" sz="2400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78" name="Rectangle 41"/>
              <p:cNvSpPr/>
              <p:nvPr/>
            </p:nvSpPr>
            <p:spPr>
              <a:xfrm>
                <a:off x="4382221" y="3948487"/>
                <a:ext cx="1015834" cy="55399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2100" dirty="0" err="1">
                    <a:solidFill>
                      <a:schemeClr val="accent4"/>
                    </a:solidFill>
                  </a:rPr>
                  <a:t>years</a:t>
                </a:r>
                <a:endParaRPr lang="en-US" sz="2100" dirty="0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72" name="Oval 62"/>
            <p:cNvSpPr/>
            <p:nvPr/>
          </p:nvSpPr>
          <p:spPr>
            <a:xfrm>
              <a:off x="3124323" y="2146669"/>
              <a:ext cx="523837" cy="523837"/>
            </a:xfrm>
            <a:prstGeom prst="ellipse">
              <a:avLst/>
            </a:prstGeom>
            <a:solidFill>
              <a:schemeClr val="accent6"/>
            </a:solidFill>
            <a:ln w="38100">
              <a:solidFill>
                <a:schemeClr val="bg1"/>
              </a:solidFill>
            </a:ln>
            <a:effectLst>
              <a:innerShdw blurRad="76200" dist="25400" dir="8100000">
                <a:prstClr val="black">
                  <a:alpha val="35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ct val="35000"/>
                </a:spcAft>
                <a:buSzPct val="90000"/>
              </a:pPr>
              <a:r>
                <a:rPr lang="en-US" sz="3000" b="1" dirty="0">
                  <a:solidFill>
                    <a:schemeClr val="bg2">
                      <a:lumMod val="95000"/>
                    </a:schemeClr>
                  </a:solidFill>
                </a:rPr>
                <a:t>2</a:t>
              </a:r>
              <a:endParaRPr lang="en-US" sz="3600" b="1" dirty="0">
                <a:solidFill>
                  <a:schemeClr val="bg2">
                    <a:lumMod val="95000"/>
                  </a:schemeClr>
                </a:solidFill>
              </a:endParaRPr>
            </a:p>
          </p:txBody>
        </p:sp>
      </p:grpSp>
      <p:grpSp>
        <p:nvGrpSpPr>
          <p:cNvPr id="79" name="Group 9"/>
          <p:cNvGrpSpPr/>
          <p:nvPr/>
        </p:nvGrpSpPr>
        <p:grpSpPr>
          <a:xfrm>
            <a:off x="4786160" y="1165620"/>
            <a:ext cx="1722740" cy="2602436"/>
            <a:chOff x="5547546" y="1714869"/>
            <a:chExt cx="2296987" cy="3469915"/>
          </a:xfrm>
        </p:grpSpPr>
        <p:sp>
          <p:nvSpPr>
            <p:cNvPr id="80" name="Rectángulo 21"/>
            <p:cNvSpPr/>
            <p:nvPr/>
          </p:nvSpPr>
          <p:spPr>
            <a:xfrm>
              <a:off x="5547546" y="1997144"/>
              <a:ext cx="2050680" cy="3187640"/>
            </a:xfrm>
            <a:prstGeom prst="rect">
              <a:avLst/>
            </a:prstGeom>
            <a:blipFill dpi="0" rotWithShape="0">
              <a:blip r:embed="rId2">
                <a:lum/>
              </a:blip>
              <a:srcRect/>
              <a:stretch>
                <a:fillRect l="-202105" t="-206235" r="-141967" b="-77302"/>
              </a:stretch>
            </a:blipFill>
            <a:ln>
              <a:noFill/>
            </a:ln>
            <a:effectLst>
              <a:innerShdw blurRad="76200" dist="25400" dir="8100000">
                <a:prstClr val="black">
                  <a:alpha val="35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1000" indent="-81000" algn="ctr">
                <a:buFont typeface="Wingdings" charset="2"/>
                <a:buChar char="§"/>
              </a:pPr>
              <a:endParaRPr lang="es-ES_tradnl" sz="1350"/>
            </a:p>
          </p:txBody>
        </p:sp>
        <p:grpSp>
          <p:nvGrpSpPr>
            <p:cNvPr id="81" name="Group 54"/>
            <p:cNvGrpSpPr/>
            <p:nvPr/>
          </p:nvGrpSpPr>
          <p:grpSpPr>
            <a:xfrm>
              <a:off x="5638296" y="2040799"/>
              <a:ext cx="1634393" cy="1641387"/>
              <a:chOff x="5590169" y="2273506"/>
              <a:chExt cx="1634393" cy="1641387"/>
            </a:xfrm>
          </p:grpSpPr>
          <p:sp>
            <p:nvSpPr>
              <p:cNvPr id="88" name="Rectangle 48"/>
              <p:cNvSpPr/>
              <p:nvPr/>
            </p:nvSpPr>
            <p:spPr>
              <a:xfrm>
                <a:off x="5620380" y="2458271"/>
                <a:ext cx="1336262" cy="98488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4200" b="1" dirty="0">
                    <a:solidFill>
                      <a:schemeClr val="accent2"/>
                    </a:solidFill>
                    <a:cs typeface="Arial" pitchFamily="34" charset="0"/>
                  </a:rPr>
                  <a:t>100</a:t>
                </a:r>
                <a:endParaRPr lang="en-US" sz="4200" b="1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9" name="Rectangle 49"/>
              <p:cNvSpPr/>
              <p:nvPr/>
            </p:nvSpPr>
            <p:spPr>
              <a:xfrm rot="16200000">
                <a:off x="5401015" y="3325629"/>
                <a:ext cx="778418" cy="4001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1350" b="1" dirty="0">
                    <a:solidFill>
                      <a:schemeClr val="accent2"/>
                    </a:solidFill>
                  </a:rPr>
                  <a:t>times</a:t>
                </a:r>
                <a:endParaRPr lang="en-US" sz="1350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0" name="Rectangle 102"/>
              <p:cNvSpPr/>
              <p:nvPr/>
            </p:nvSpPr>
            <p:spPr>
              <a:xfrm>
                <a:off x="6411018" y="2273506"/>
                <a:ext cx="777991" cy="45140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1600" dirty="0" err="1">
                    <a:solidFill>
                      <a:schemeClr val="accent2"/>
                    </a:solidFill>
                  </a:rPr>
                  <a:t>Until</a:t>
                </a:r>
                <a:endParaRPr lang="en-US" sz="1600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1" name="Rectangle 103"/>
              <p:cNvSpPr/>
              <p:nvPr/>
            </p:nvSpPr>
            <p:spPr>
              <a:xfrm>
                <a:off x="5805894" y="3082823"/>
                <a:ext cx="975737" cy="49244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b="1" dirty="0" err="1">
                    <a:solidFill>
                      <a:schemeClr val="accent2"/>
                    </a:solidFill>
                  </a:rPr>
                  <a:t>faster</a:t>
                </a:r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2" name="Rectangle 104"/>
              <p:cNvSpPr/>
              <p:nvPr/>
            </p:nvSpPr>
            <p:spPr>
              <a:xfrm>
                <a:off x="5822041" y="3354949"/>
                <a:ext cx="1402521" cy="55399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2100" dirty="0" err="1">
                    <a:solidFill>
                      <a:schemeClr val="accent2"/>
                    </a:solidFill>
                  </a:rPr>
                  <a:t>than</a:t>
                </a:r>
                <a:r>
                  <a:rPr lang="es-ES" sz="2100" dirty="0">
                    <a:solidFill>
                      <a:schemeClr val="accent2"/>
                    </a:solidFill>
                  </a:rPr>
                  <a:t> 4G</a:t>
                </a:r>
                <a:endParaRPr lang="en-US" sz="2100" dirty="0">
                  <a:solidFill>
                    <a:schemeClr val="accent2"/>
                  </a:solidFill>
                </a:endParaRPr>
              </a:p>
            </p:txBody>
          </p:sp>
        </p:grpSp>
        <p:grpSp>
          <p:nvGrpSpPr>
            <p:cNvPr id="82" name="Group 50"/>
            <p:cNvGrpSpPr/>
            <p:nvPr/>
          </p:nvGrpSpPr>
          <p:grpSpPr>
            <a:xfrm>
              <a:off x="6127858" y="3822345"/>
              <a:ext cx="1716675" cy="1152751"/>
              <a:chOff x="5967436" y="4135261"/>
              <a:chExt cx="1716675" cy="1152751"/>
            </a:xfrm>
          </p:grpSpPr>
          <p:sp>
            <p:nvSpPr>
              <p:cNvPr id="84" name="Rectangle 105"/>
              <p:cNvSpPr/>
              <p:nvPr/>
            </p:nvSpPr>
            <p:spPr>
              <a:xfrm>
                <a:off x="5967436" y="4174765"/>
                <a:ext cx="635216" cy="104644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4500" b="1" dirty="0">
                    <a:solidFill>
                      <a:schemeClr val="accent2"/>
                    </a:solidFill>
                    <a:cs typeface="Arial" pitchFamily="34" charset="0"/>
                  </a:rPr>
                  <a:t>1</a:t>
                </a:r>
                <a:endParaRPr lang="en-US" sz="4500" b="1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5" name="Rectangle 107"/>
              <p:cNvSpPr/>
              <p:nvPr/>
            </p:nvSpPr>
            <p:spPr>
              <a:xfrm>
                <a:off x="6040368" y="4135261"/>
                <a:ext cx="883318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1200" dirty="0" err="1">
                    <a:solidFill>
                      <a:schemeClr val="accent2"/>
                    </a:solidFill>
                  </a:rPr>
                  <a:t>Latency</a:t>
                </a:r>
                <a:endParaRPr lang="en-US" sz="1200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6" name="Rectangle 108"/>
              <p:cNvSpPr/>
              <p:nvPr/>
            </p:nvSpPr>
            <p:spPr>
              <a:xfrm>
                <a:off x="7437803" y="4596182"/>
                <a:ext cx="246308" cy="49244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87" name="Rectangle 109"/>
              <p:cNvSpPr/>
              <p:nvPr/>
            </p:nvSpPr>
            <p:spPr>
              <a:xfrm>
                <a:off x="6034769" y="4887903"/>
                <a:ext cx="1339426" cy="4001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_tradnl" sz="1350" b="1" dirty="0" err="1">
                    <a:solidFill>
                      <a:schemeClr val="accent2"/>
                    </a:solidFill>
                  </a:rPr>
                  <a:t>millisecond</a:t>
                </a:r>
                <a:endParaRPr lang="en-US" sz="1350" b="1" dirty="0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83" name="Oval 63"/>
            <p:cNvSpPr/>
            <p:nvPr/>
          </p:nvSpPr>
          <p:spPr>
            <a:xfrm>
              <a:off x="5759890" y="1714869"/>
              <a:ext cx="523837" cy="523837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  <a:effectLst>
              <a:innerShdw blurRad="76200" dist="25400" dir="8100000">
                <a:prstClr val="black">
                  <a:alpha val="35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ct val="35000"/>
                </a:spcAft>
                <a:buSzPct val="90000"/>
              </a:pPr>
              <a:r>
                <a:rPr lang="en-US" sz="3000" b="1" dirty="0">
                  <a:solidFill>
                    <a:schemeClr val="bg2">
                      <a:lumMod val="95000"/>
                    </a:schemeClr>
                  </a:solidFill>
                </a:rPr>
                <a:t>3</a:t>
              </a:r>
              <a:endParaRPr lang="en-US" sz="3600" b="1" dirty="0">
                <a:solidFill>
                  <a:schemeClr val="bg2">
                    <a:lumMod val="95000"/>
                  </a:schemeClr>
                </a:solidFill>
              </a:endParaRPr>
            </a:p>
          </p:txBody>
        </p:sp>
      </p:grpSp>
      <p:grpSp>
        <p:nvGrpSpPr>
          <p:cNvPr id="93" name="Group 10"/>
          <p:cNvGrpSpPr/>
          <p:nvPr/>
        </p:nvGrpSpPr>
        <p:grpSpPr>
          <a:xfrm>
            <a:off x="6226736" y="1651512"/>
            <a:ext cx="1796486" cy="2222529"/>
            <a:chOff x="7746990" y="2293054"/>
            <a:chExt cx="2395315" cy="2963372"/>
          </a:xfrm>
        </p:grpSpPr>
        <p:sp>
          <p:nvSpPr>
            <p:cNvPr id="94" name="Rectángulo 21"/>
            <p:cNvSpPr/>
            <p:nvPr/>
          </p:nvSpPr>
          <p:spPr>
            <a:xfrm>
              <a:off x="7959351" y="2537230"/>
              <a:ext cx="2084626" cy="2719196"/>
            </a:xfrm>
            <a:prstGeom prst="rect">
              <a:avLst/>
            </a:prstGeom>
            <a:blipFill dpi="0" rotWithShape="0">
              <a:blip r:embed="rId2">
                <a:lum/>
              </a:blip>
              <a:srcRect/>
              <a:stretch>
                <a:fillRect l="-202105" t="-206235" r="-141967" b="-77302"/>
              </a:stretch>
            </a:blipFill>
            <a:ln>
              <a:noFill/>
            </a:ln>
            <a:effectLst>
              <a:innerShdw blurRad="76200" dist="25400" dir="8100000">
                <a:prstClr val="black">
                  <a:alpha val="35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1000" indent="-81000" algn="ctr">
                <a:buFont typeface="Wingdings" charset="2"/>
                <a:buChar char="§"/>
              </a:pPr>
              <a:endParaRPr lang="es-ES" sz="1350" dirty="0"/>
            </a:p>
          </p:txBody>
        </p:sp>
        <p:grpSp>
          <p:nvGrpSpPr>
            <p:cNvPr id="95" name="Group 117"/>
            <p:cNvGrpSpPr/>
            <p:nvPr/>
          </p:nvGrpSpPr>
          <p:grpSpPr>
            <a:xfrm>
              <a:off x="7746990" y="2607127"/>
              <a:ext cx="2395315" cy="2568409"/>
              <a:chOff x="7237878" y="2723017"/>
              <a:chExt cx="2395315" cy="2568409"/>
            </a:xfrm>
          </p:grpSpPr>
          <p:sp>
            <p:nvSpPr>
              <p:cNvPr id="97" name="TextBox 58"/>
              <p:cNvSpPr txBox="1"/>
              <p:nvPr/>
            </p:nvSpPr>
            <p:spPr>
              <a:xfrm>
                <a:off x="7237878" y="4798983"/>
                <a:ext cx="2395315" cy="492443"/>
              </a:xfrm>
              <a:prstGeom prst="rect">
                <a:avLst/>
              </a:prstGeom>
              <a:ln w="1270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dirty="0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“</a:t>
                </a:r>
                <a:r>
                  <a:rPr lang="es-ES" dirty="0" err="1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small</a:t>
                </a:r>
                <a:r>
                  <a:rPr lang="es-ES" dirty="0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 </a:t>
                </a:r>
                <a:r>
                  <a:rPr lang="es-ES" dirty="0" err="1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cells</a:t>
                </a:r>
                <a:r>
                  <a:rPr lang="es-ES" dirty="0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”</a:t>
                </a:r>
              </a:p>
            </p:txBody>
          </p:sp>
          <p:sp>
            <p:nvSpPr>
              <p:cNvPr id="98" name="Rectangle 111"/>
              <p:cNvSpPr/>
              <p:nvPr/>
            </p:nvSpPr>
            <p:spPr>
              <a:xfrm>
                <a:off x="7869381" y="2723017"/>
                <a:ext cx="1694730" cy="4001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ES" sz="1350" b="1" dirty="0" err="1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Densification</a:t>
                </a:r>
                <a:endParaRPr lang="es-ES" sz="1350" b="1" dirty="0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endParaRPr>
              </a:p>
            </p:txBody>
          </p:sp>
          <p:sp>
            <p:nvSpPr>
              <p:cNvPr id="99" name="Rectangle 112"/>
              <p:cNvSpPr/>
              <p:nvPr/>
            </p:nvSpPr>
            <p:spPr>
              <a:xfrm>
                <a:off x="7441049" y="2887246"/>
                <a:ext cx="2186839" cy="73866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2600" b="1" dirty="0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up to </a:t>
                </a:r>
                <a:r>
                  <a:rPr lang="es-ES" sz="3000" b="1" dirty="0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x10 </a:t>
                </a:r>
                <a:endParaRPr lang="es-ES" b="1" dirty="0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endParaRPr>
              </a:p>
            </p:txBody>
          </p:sp>
          <p:sp>
            <p:nvSpPr>
              <p:cNvPr id="100" name="Rectangle 113"/>
              <p:cNvSpPr/>
              <p:nvPr/>
            </p:nvSpPr>
            <p:spPr>
              <a:xfrm>
                <a:off x="7612993" y="3361664"/>
                <a:ext cx="1868888" cy="55399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2100" dirty="0" err="1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Each</a:t>
                </a:r>
                <a:r>
                  <a:rPr lang="es-ES" sz="2100" dirty="0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 </a:t>
                </a:r>
                <a:r>
                  <a:rPr lang="es-ES" sz="2100" dirty="0" err="1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urban</a:t>
                </a:r>
                <a:endParaRPr lang="es-ES" sz="1350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01" name="Rectangle 114"/>
              <p:cNvSpPr/>
              <p:nvPr/>
            </p:nvSpPr>
            <p:spPr>
              <a:xfrm>
                <a:off x="7640547" y="3725597"/>
                <a:ext cx="246308" cy="55399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endParaRPr lang="es-ES" sz="2100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02" name="Rectangle 115"/>
              <p:cNvSpPr/>
              <p:nvPr/>
            </p:nvSpPr>
            <p:spPr>
              <a:xfrm>
                <a:off x="7591697" y="4097317"/>
                <a:ext cx="1811010" cy="4001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1350" dirty="0" err="1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will</a:t>
                </a:r>
                <a:r>
                  <a:rPr lang="es-ES" sz="1350" dirty="0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 </a:t>
                </a:r>
                <a:r>
                  <a:rPr lang="es-ES" sz="1350" dirty="0" err="1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complement</a:t>
                </a:r>
                <a:endParaRPr lang="es-ES" sz="1350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03" name="Rectangle 116"/>
              <p:cNvSpPr/>
              <p:nvPr/>
            </p:nvSpPr>
            <p:spPr>
              <a:xfrm>
                <a:off x="7552611" y="4276531"/>
                <a:ext cx="2045859" cy="76944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3150" b="1" dirty="0" err="1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with</a:t>
                </a:r>
                <a:r>
                  <a:rPr lang="es-ES" sz="3150" b="1" dirty="0">
                    <a:solidFill>
                      <a:schemeClr val="bg1">
                        <a:lumMod val="50000"/>
                      </a:schemeClr>
                    </a:solidFill>
                    <a:cs typeface="Arial" pitchFamily="34" charset="0"/>
                  </a:rPr>
                  <a:t> 10 </a:t>
                </a:r>
                <a:endParaRPr lang="es-ES" sz="3150" b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96" name="Oval 64"/>
            <p:cNvSpPr/>
            <p:nvPr/>
          </p:nvSpPr>
          <p:spPr>
            <a:xfrm>
              <a:off x="8022572" y="2293054"/>
              <a:ext cx="523837" cy="523837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38100">
              <a:solidFill>
                <a:schemeClr val="bg1"/>
              </a:solidFill>
            </a:ln>
            <a:effectLst>
              <a:innerShdw blurRad="76200" dist="25400" dir="8100000">
                <a:prstClr val="black">
                  <a:alpha val="35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ct val="35000"/>
                </a:spcAft>
                <a:buSzPct val="90000"/>
              </a:pPr>
              <a:r>
                <a:rPr lang="es-ES" sz="3000" b="1" dirty="0">
                  <a:solidFill>
                    <a:schemeClr val="bg2">
                      <a:lumMod val="95000"/>
                    </a:schemeClr>
                  </a:solidFill>
                </a:rPr>
                <a:t>4</a:t>
              </a:r>
              <a:endParaRPr lang="es-ES" sz="3600" b="1" dirty="0">
                <a:solidFill>
                  <a:schemeClr val="bg2">
                    <a:lumMod val="95000"/>
                  </a:schemeClr>
                </a:solidFill>
              </a:endParaRPr>
            </a:p>
          </p:txBody>
        </p:sp>
      </p:grpSp>
      <p:sp>
        <p:nvSpPr>
          <p:cNvPr id="104" name="Rectángulo 3"/>
          <p:cNvSpPr/>
          <p:nvPr/>
        </p:nvSpPr>
        <p:spPr>
          <a:xfrm>
            <a:off x="1520013" y="1333123"/>
            <a:ext cx="1399211" cy="4154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4289" rIns="34289">
            <a:spAutoFit/>
          </a:bodyPr>
          <a:lstStyle>
            <a:lvl1pPr>
              <a:defRPr b="1"/>
            </a:lvl1pPr>
          </a:lstStyle>
          <a:p>
            <a:r>
              <a:rPr lang="es-ES" sz="1050" dirty="0" err="1"/>
              <a:t>An</a:t>
            </a:r>
            <a:r>
              <a:rPr lang="es-ES" sz="1050" dirty="0"/>
              <a:t> </a:t>
            </a:r>
            <a:r>
              <a:rPr lang="es-ES" sz="1050" dirty="0" err="1"/>
              <a:t>explosion</a:t>
            </a:r>
            <a:r>
              <a:rPr lang="es-ES" sz="1050" dirty="0"/>
              <a:t> of </a:t>
            </a:r>
            <a:r>
              <a:rPr sz="1050" dirty="0"/>
              <a:t>"</a:t>
            </a:r>
            <a:r>
              <a:rPr lang="es-ES" sz="1050" dirty="0" err="1"/>
              <a:t>connectivity</a:t>
            </a:r>
            <a:r>
              <a:rPr sz="1050" dirty="0"/>
              <a:t>"</a:t>
            </a:r>
          </a:p>
        </p:txBody>
      </p:sp>
      <p:sp>
        <p:nvSpPr>
          <p:cNvPr id="116" name="Rectangle 98"/>
          <p:cNvSpPr/>
          <p:nvPr/>
        </p:nvSpPr>
        <p:spPr>
          <a:xfrm>
            <a:off x="1097468" y="3845554"/>
            <a:ext cx="989373" cy="2400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5000" dirty="0">
                <a:solidFill>
                  <a:schemeClr val="accent2">
                    <a:lumMod val="75000"/>
                  </a:schemeClr>
                </a:solidFill>
              </a:rPr>
              <a:t>”</a:t>
            </a:r>
            <a:endParaRPr lang="en-US" sz="15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17" name="Rectángulo 2"/>
          <p:cNvSpPr/>
          <p:nvPr/>
        </p:nvSpPr>
        <p:spPr>
          <a:xfrm>
            <a:off x="1988711" y="4104204"/>
            <a:ext cx="7878245" cy="7078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/>
          <a:p>
            <a:pPr>
              <a:defRPr b="0" i="0"/>
            </a:pPr>
            <a:r>
              <a:rPr lang="x-none" sz="1400" dirty="0"/>
              <a:t>We need shared telecommunications infrastructures (...) Tower companies serve the </a:t>
            </a:r>
            <a:endParaRPr lang="es-ES" sz="1400" dirty="0"/>
          </a:p>
          <a:p>
            <a:pPr>
              <a:defRPr b="0" i="0"/>
            </a:pPr>
            <a:r>
              <a:rPr lang="x-none" sz="1400" dirty="0"/>
              <a:t>needs of mobile access providers</a:t>
            </a:r>
          </a:p>
          <a:p>
            <a:pPr>
              <a:defRPr b="0" i="0"/>
            </a:pPr>
            <a:r>
              <a:rPr lang="x-none" sz="1200" b="1" dirty="0"/>
              <a:t>Sunil Bharti Mittal, President of GSMA. Barcelona, MWC’17</a:t>
            </a:r>
          </a:p>
        </p:txBody>
      </p:sp>
      <p:sp>
        <p:nvSpPr>
          <p:cNvPr id="118" name="Rectangle 36"/>
          <p:cNvSpPr/>
          <p:nvPr/>
        </p:nvSpPr>
        <p:spPr>
          <a:xfrm>
            <a:off x="555970" y="3571136"/>
            <a:ext cx="989373" cy="2400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5000" dirty="0">
                <a:solidFill>
                  <a:schemeClr val="accent2"/>
                </a:solidFill>
              </a:rPr>
              <a:t>“</a:t>
            </a:r>
            <a:endParaRPr lang="en-US" sz="15000" dirty="0">
              <a:solidFill>
                <a:schemeClr val="accent2"/>
              </a:solidFill>
            </a:endParaRPr>
          </a:p>
        </p:txBody>
      </p:sp>
      <p:sp>
        <p:nvSpPr>
          <p:cNvPr id="119" name="Rectángulo 118"/>
          <p:cNvSpPr/>
          <p:nvPr/>
        </p:nvSpPr>
        <p:spPr>
          <a:xfrm>
            <a:off x="6641372" y="2639902"/>
            <a:ext cx="13399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“</a:t>
            </a:r>
            <a:r>
              <a:rPr lang="es-ES" dirty="0" err="1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macrocell</a:t>
            </a:r>
            <a:r>
              <a:rPr lang="es-ES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” </a:t>
            </a:r>
            <a:endParaRPr lang="es-E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5" name="Rectángulo 54"/>
          <p:cNvSpPr/>
          <p:nvPr/>
        </p:nvSpPr>
        <p:spPr>
          <a:xfrm>
            <a:off x="8701021" y="4993556"/>
            <a:ext cx="261611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eaLnBrk="0" hangingPunct="0"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2672329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8">
            <a:extLst>
              <a:ext uri="{FF2B5EF4-FFF2-40B4-BE49-F238E27FC236}">
                <a16:creationId xmlns:a16="http://schemas.microsoft.com/office/drawing/2014/main" id="{E10A6B02-61D8-0344-927C-E263B618F2F2}"/>
              </a:ext>
            </a:extLst>
          </p:cNvPr>
          <p:cNvSpPr txBox="1">
            <a:spLocks/>
          </p:cNvSpPr>
          <p:nvPr/>
        </p:nvSpPr>
        <p:spPr>
          <a:xfrm>
            <a:off x="392213" y="77819"/>
            <a:ext cx="7631009" cy="63771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s-ES" sz="3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Calibri"/>
              </a:defRPr>
            </a:lvl1pPr>
          </a:lstStyle>
          <a:p>
            <a:r>
              <a:rPr lang="en-US" sz="1800" dirty="0"/>
              <a:t>Cellnex in a nutshell</a:t>
            </a:r>
          </a:p>
          <a:p>
            <a:endParaRPr lang="en-US" sz="1800" dirty="0"/>
          </a:p>
        </p:txBody>
      </p:sp>
      <p:pic>
        <p:nvPicPr>
          <p:cNvPr id="31" name="Imagen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9651" y="123172"/>
            <a:ext cx="578421" cy="213764"/>
          </a:xfrm>
          <a:prstGeom prst="rect">
            <a:avLst/>
          </a:prstGeom>
        </p:spPr>
      </p:pic>
      <p:sp>
        <p:nvSpPr>
          <p:cNvPr id="52" name="77 Rectángulo"/>
          <p:cNvSpPr/>
          <p:nvPr>
            <p:custDataLst>
              <p:tags r:id="rId1"/>
            </p:custDataLst>
          </p:nvPr>
        </p:nvSpPr>
        <p:spPr bwMode="gray">
          <a:xfrm>
            <a:off x="2380810" y="1589586"/>
            <a:ext cx="6547508" cy="423193"/>
          </a:xfrm>
          <a:prstGeom prst="roundRect">
            <a:avLst>
              <a:gd name="adj" fmla="val 8653"/>
            </a:avLst>
          </a:prstGeom>
          <a:noFill/>
          <a:ln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wrap="square" lIns="54000" tIns="54000" rIns="54000" bIns="54000" anchor="ctr" anchorCtr="0">
            <a:noAutofit/>
          </a:bodyPr>
          <a:lstStyle/>
          <a:p>
            <a:pPr>
              <a:lnSpc>
                <a:spcPts val="1875"/>
              </a:lnSpc>
              <a:spcAft>
                <a:spcPts val="450"/>
              </a:spcAft>
            </a:pPr>
            <a:r>
              <a:rPr lang="en-US" sz="1050" b="1" dirty="0">
                <a:solidFill>
                  <a:schemeClr val="bg1"/>
                </a:solidFill>
              </a:rPr>
              <a:t>First independent neutral operator in Europe</a:t>
            </a:r>
          </a:p>
        </p:txBody>
      </p:sp>
      <p:sp>
        <p:nvSpPr>
          <p:cNvPr id="53" name="77 Rectángulo"/>
          <p:cNvSpPr/>
          <p:nvPr>
            <p:custDataLst>
              <p:tags r:id="rId2"/>
            </p:custDataLst>
          </p:nvPr>
        </p:nvSpPr>
        <p:spPr bwMode="gray">
          <a:xfrm>
            <a:off x="2531843" y="2709253"/>
            <a:ext cx="6547508" cy="423193"/>
          </a:xfrm>
          <a:prstGeom prst="roundRect">
            <a:avLst>
              <a:gd name="adj" fmla="val 8653"/>
            </a:avLst>
          </a:prstGeom>
          <a:noFill/>
          <a:ln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wrap="square" lIns="54000" tIns="54000" rIns="54000" bIns="54000" anchor="ctr" anchorCtr="0">
            <a:noAutofit/>
          </a:bodyPr>
          <a:lstStyle/>
          <a:p>
            <a:pPr>
              <a:lnSpc>
                <a:spcPts val="1875"/>
              </a:lnSpc>
              <a:spcAft>
                <a:spcPts val="450"/>
              </a:spcAft>
            </a:pPr>
            <a:r>
              <a:rPr lang="en-US" sz="1050" b="1" dirty="0">
                <a:solidFill>
                  <a:schemeClr val="bg1"/>
                </a:solidFill>
              </a:rPr>
              <a:t>Industrial model and long-term commitment with our customers</a:t>
            </a:r>
          </a:p>
        </p:txBody>
      </p:sp>
      <p:pic>
        <p:nvPicPr>
          <p:cNvPr id="54" name="Picture 13">
            <a:extLst>
              <a:ext uri="{FF2B5EF4-FFF2-40B4-BE49-F238E27FC236}">
                <a16:creationId xmlns:a16="http://schemas.microsoft.com/office/drawing/2014/main" id="{3C350291-DE31-4B0E-996A-538E98BDA1A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66081"/>
          <a:stretch/>
        </p:blipFill>
        <p:spPr>
          <a:xfrm>
            <a:off x="1025738" y="792728"/>
            <a:ext cx="1186960" cy="4133334"/>
          </a:xfrm>
          <a:prstGeom prst="rect">
            <a:avLst/>
          </a:prstGeom>
        </p:spPr>
      </p:pic>
      <p:pic>
        <p:nvPicPr>
          <p:cNvPr id="55" name="Imagen 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45" y="2486348"/>
            <a:ext cx="1417821" cy="527808"/>
          </a:xfrm>
          <a:prstGeom prst="rect">
            <a:avLst/>
          </a:prstGeom>
        </p:spPr>
      </p:pic>
      <p:sp>
        <p:nvSpPr>
          <p:cNvPr id="56" name="Rectangle 3"/>
          <p:cNvSpPr/>
          <p:nvPr/>
        </p:nvSpPr>
        <p:spPr>
          <a:xfrm>
            <a:off x="1414841" y="871051"/>
            <a:ext cx="5964065" cy="644825"/>
          </a:xfrm>
          <a:prstGeom prst="rect">
            <a:avLst/>
          </a:prstGeom>
          <a:gradFill flip="none" rotWithShape="1">
            <a:gsLst>
              <a:gs pos="5000">
                <a:schemeClr val="bg1"/>
              </a:gs>
              <a:gs pos="25000">
                <a:schemeClr val="accent6">
                  <a:lumMod val="97000"/>
                  <a:lumOff val="3000"/>
                </a:schemeClr>
              </a:gs>
              <a:gs pos="100000">
                <a:schemeClr val="accent4"/>
              </a:gs>
            </a:gsLst>
            <a:lin ang="16200000" scaled="1"/>
            <a:tileRect/>
          </a:gradFill>
          <a:ln w="12700">
            <a:noFill/>
            <a:prstDash val="solid"/>
          </a:ln>
        </p:spPr>
        <p:txBody>
          <a:bodyPr wrap="square" lIns="54000" tIns="54000" rIns="54000" bIns="54000" rtlCol="0" anchor="ctr" anchorCtr="0">
            <a:noAutofit/>
          </a:bodyPr>
          <a:lstStyle/>
          <a:p>
            <a:pPr algn="ctr">
              <a:lnSpc>
                <a:spcPts val="900"/>
              </a:lnSpc>
              <a:spcBef>
                <a:spcPts val="300"/>
              </a:spcBef>
              <a:spcAft>
                <a:spcPts val="300"/>
              </a:spcAft>
              <a:buClr>
                <a:srgbClr val="15497D"/>
              </a:buClr>
              <a:buSzPct val="100000"/>
            </a:pPr>
            <a:endParaRPr lang="es-ES" sz="1400" b="1" kern="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Oval 5"/>
          <p:cNvSpPr/>
          <p:nvPr/>
        </p:nvSpPr>
        <p:spPr>
          <a:xfrm>
            <a:off x="1229710" y="984553"/>
            <a:ext cx="324000" cy="324000"/>
          </a:xfrm>
          <a:prstGeom prst="ellipse">
            <a:avLst/>
          </a:prstGeom>
          <a:solidFill>
            <a:srgbClr val="53970B"/>
          </a:solidFill>
          <a:ln w="19050">
            <a:solidFill>
              <a:schemeClr val="bg1"/>
            </a:solidFill>
            <a:prstDash val="solid"/>
          </a:ln>
        </p:spPr>
        <p:txBody>
          <a:bodyPr wrap="square" lIns="54000" tIns="54000" rIns="54000" bIns="54000" rtlCol="0" anchor="ctr" anchorCtr="0">
            <a:noAutofit/>
          </a:bodyPr>
          <a:lstStyle/>
          <a:p>
            <a:pPr algn="ctr">
              <a:lnSpc>
                <a:spcPts val="900"/>
              </a:lnSpc>
              <a:spcBef>
                <a:spcPts val="300"/>
              </a:spcBef>
              <a:spcAft>
                <a:spcPts val="300"/>
              </a:spcAft>
              <a:buClr>
                <a:srgbClr val="15497D"/>
              </a:buClr>
              <a:buSzPct val="100000"/>
            </a:pPr>
            <a:endParaRPr lang="es-ES" sz="1400" b="1" kern="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Rectangle 36"/>
          <p:cNvSpPr/>
          <p:nvPr/>
        </p:nvSpPr>
        <p:spPr>
          <a:xfrm>
            <a:off x="2113386" y="1874488"/>
            <a:ext cx="5604155" cy="644825"/>
          </a:xfrm>
          <a:prstGeom prst="rect">
            <a:avLst/>
          </a:prstGeom>
          <a:gradFill flip="none" rotWithShape="1">
            <a:gsLst>
              <a:gs pos="5000">
                <a:schemeClr val="bg1"/>
              </a:gs>
              <a:gs pos="21000">
                <a:srgbClr val="009CA6"/>
              </a:gs>
              <a:gs pos="100000">
                <a:srgbClr val="009CA6"/>
              </a:gs>
            </a:gsLst>
            <a:lin ang="16200000" scaled="1"/>
            <a:tileRect/>
          </a:gradFill>
          <a:ln w="12700">
            <a:noFill/>
            <a:prstDash val="solid"/>
          </a:ln>
        </p:spPr>
        <p:txBody>
          <a:bodyPr wrap="square" lIns="54000" tIns="54000" rIns="54000" bIns="54000" rtlCol="0" anchor="ctr" anchorCtr="0">
            <a:noAutofit/>
          </a:bodyPr>
          <a:lstStyle/>
          <a:p>
            <a:pPr algn="ctr">
              <a:lnSpc>
                <a:spcPts val="900"/>
              </a:lnSpc>
              <a:spcBef>
                <a:spcPts val="300"/>
              </a:spcBef>
              <a:spcAft>
                <a:spcPts val="300"/>
              </a:spcAft>
              <a:buClr>
                <a:srgbClr val="15497D"/>
              </a:buClr>
              <a:buSzPct val="100000"/>
            </a:pPr>
            <a:endParaRPr lang="es-ES" sz="1400" b="1" kern="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" name="Oval 37"/>
          <p:cNvSpPr/>
          <p:nvPr/>
        </p:nvSpPr>
        <p:spPr>
          <a:xfrm>
            <a:off x="1912757" y="1983675"/>
            <a:ext cx="324000" cy="324000"/>
          </a:xfrm>
          <a:prstGeom prst="ellipse">
            <a:avLst/>
          </a:prstGeom>
          <a:solidFill>
            <a:srgbClr val="009CA6"/>
          </a:solidFill>
          <a:ln w="19050">
            <a:solidFill>
              <a:schemeClr val="bg1"/>
            </a:solidFill>
            <a:prstDash val="solid"/>
          </a:ln>
        </p:spPr>
        <p:txBody>
          <a:bodyPr wrap="square" lIns="54000" tIns="54000" rIns="54000" bIns="54000" rtlCol="0" anchor="ctr" anchorCtr="0">
            <a:noAutofit/>
          </a:bodyPr>
          <a:lstStyle/>
          <a:p>
            <a:pPr algn="ctr">
              <a:lnSpc>
                <a:spcPts val="900"/>
              </a:lnSpc>
              <a:spcBef>
                <a:spcPts val="300"/>
              </a:spcBef>
              <a:spcAft>
                <a:spcPts val="300"/>
              </a:spcAft>
              <a:buClr>
                <a:srgbClr val="15497D"/>
              </a:buClr>
              <a:buSzPct val="100000"/>
            </a:pPr>
            <a:endParaRPr lang="es-ES" sz="1400" b="1" kern="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Oval 41"/>
          <p:cNvSpPr/>
          <p:nvPr/>
        </p:nvSpPr>
        <p:spPr>
          <a:xfrm>
            <a:off x="2023145" y="2940532"/>
            <a:ext cx="324000" cy="324000"/>
          </a:xfrm>
          <a:prstGeom prst="ellipse">
            <a:avLst/>
          </a:prstGeom>
          <a:solidFill>
            <a:srgbClr val="334350"/>
          </a:solidFill>
          <a:ln w="19050">
            <a:solidFill>
              <a:schemeClr val="bg1"/>
            </a:solidFill>
            <a:prstDash val="solid"/>
          </a:ln>
        </p:spPr>
        <p:txBody>
          <a:bodyPr wrap="square" lIns="54000" tIns="54000" rIns="54000" bIns="54000" rtlCol="0" anchor="ctr" anchorCtr="0">
            <a:noAutofit/>
          </a:bodyPr>
          <a:lstStyle/>
          <a:p>
            <a:pPr algn="ctr">
              <a:lnSpc>
                <a:spcPts val="900"/>
              </a:lnSpc>
              <a:spcBef>
                <a:spcPts val="300"/>
              </a:spcBef>
              <a:spcAft>
                <a:spcPts val="300"/>
              </a:spcAft>
              <a:buClr>
                <a:srgbClr val="15497D"/>
              </a:buClr>
              <a:buSzPct val="100000"/>
            </a:pPr>
            <a:endParaRPr lang="es-ES" sz="1400" b="1" kern="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77 Rectángulo"/>
          <p:cNvSpPr/>
          <p:nvPr>
            <p:custDataLst>
              <p:tags r:id="rId3"/>
            </p:custDataLst>
          </p:nvPr>
        </p:nvSpPr>
        <p:spPr bwMode="gray">
          <a:xfrm>
            <a:off x="2366155" y="1777599"/>
            <a:ext cx="8525669" cy="494426"/>
          </a:xfrm>
          <a:prstGeom prst="roundRect">
            <a:avLst>
              <a:gd name="adj" fmla="val 8653"/>
            </a:avLst>
          </a:prstGeom>
          <a:noFill/>
          <a:ln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wrap="square" lIns="54000" tIns="54000" rIns="54000" bIns="54000" anchor="ctr" anchorCtr="0">
            <a:noAutofit/>
          </a:bodyPr>
          <a:lstStyle/>
          <a:p>
            <a:pPr>
              <a:lnSpc>
                <a:spcPts val="1875"/>
              </a:lnSpc>
              <a:spcAft>
                <a:spcPts val="450"/>
              </a:spcAft>
            </a:pPr>
            <a:r>
              <a:rPr lang="en-US" sz="1400" b="1" dirty="0">
                <a:solidFill>
                  <a:schemeClr val="bg1"/>
                </a:solidFill>
              </a:rPr>
              <a:t>First independent neutral operator in Europe</a:t>
            </a:r>
          </a:p>
        </p:txBody>
      </p:sp>
      <p:sp>
        <p:nvSpPr>
          <p:cNvPr id="63" name="TextBox 6"/>
          <p:cNvSpPr txBox="1"/>
          <p:nvPr/>
        </p:nvSpPr>
        <p:spPr>
          <a:xfrm>
            <a:off x="2341358" y="2109150"/>
            <a:ext cx="4771960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Capacity to harness synergies from integrating new assets</a:t>
            </a:r>
          </a:p>
        </p:txBody>
      </p:sp>
      <p:grpSp>
        <p:nvGrpSpPr>
          <p:cNvPr id="64" name="Group 14">
            <a:extLst>
              <a:ext uri="{FF2B5EF4-FFF2-40B4-BE49-F238E27FC236}">
                <a16:creationId xmlns:a16="http://schemas.microsoft.com/office/drawing/2014/main" id="{F3259364-8914-4719-A637-AD76A1F499FD}"/>
              </a:ext>
            </a:extLst>
          </p:cNvPr>
          <p:cNvGrpSpPr/>
          <p:nvPr/>
        </p:nvGrpSpPr>
        <p:grpSpPr>
          <a:xfrm>
            <a:off x="1674025" y="3755735"/>
            <a:ext cx="8848636" cy="724994"/>
            <a:chOff x="1874029" y="5191713"/>
            <a:chExt cx="8848636" cy="724994"/>
          </a:xfrm>
        </p:grpSpPr>
        <p:sp>
          <p:nvSpPr>
            <p:cNvPr id="65" name="Rectangle 42"/>
            <p:cNvSpPr/>
            <p:nvPr/>
          </p:nvSpPr>
          <p:spPr>
            <a:xfrm>
              <a:off x="2028007" y="5271882"/>
              <a:ext cx="5829870" cy="644825"/>
            </a:xfrm>
            <a:prstGeom prst="rect">
              <a:avLst/>
            </a:prstGeom>
            <a:gradFill flip="none" rotWithShape="1">
              <a:gsLst>
                <a:gs pos="5000">
                  <a:schemeClr val="bg1"/>
                </a:gs>
                <a:gs pos="21000">
                  <a:schemeClr val="accent6">
                    <a:lumMod val="97000"/>
                    <a:lumOff val="3000"/>
                  </a:schemeClr>
                </a:gs>
                <a:gs pos="100000">
                  <a:schemeClr val="accent4"/>
                </a:gs>
              </a:gsLst>
              <a:lin ang="16200000" scaled="1"/>
              <a:tileRect/>
            </a:gradFill>
            <a:ln w="12700">
              <a:noFill/>
              <a:prstDash val="solid"/>
            </a:ln>
          </p:spPr>
          <p:txBody>
            <a:bodyPr wrap="square" lIns="54000" tIns="54000" rIns="54000" bIns="54000" rtlCol="0" anchor="ctr" anchorCtr="0">
              <a:noAutofit/>
            </a:bodyPr>
            <a:lstStyle/>
            <a:p>
              <a:pPr algn="ctr">
                <a:lnSpc>
                  <a:spcPts val="9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5497D"/>
                </a:buClr>
                <a:buSzPct val="100000"/>
              </a:pPr>
              <a:endParaRPr lang="es-ES" sz="1400" b="1" kern="0" dirty="0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6" name="Oval 43"/>
            <p:cNvSpPr/>
            <p:nvPr/>
          </p:nvSpPr>
          <p:spPr>
            <a:xfrm>
              <a:off x="1874029" y="5399459"/>
              <a:ext cx="324000" cy="324000"/>
            </a:xfrm>
            <a:prstGeom prst="ellipse">
              <a:avLst/>
            </a:prstGeom>
            <a:solidFill>
              <a:srgbClr val="53970B"/>
            </a:solidFill>
            <a:ln w="19050">
              <a:solidFill>
                <a:schemeClr val="bg1"/>
              </a:solidFill>
              <a:prstDash val="solid"/>
            </a:ln>
          </p:spPr>
          <p:txBody>
            <a:bodyPr wrap="square" lIns="54000" tIns="54000" rIns="54000" bIns="54000" rtlCol="0" anchor="ctr" anchorCtr="0">
              <a:noAutofit/>
            </a:bodyPr>
            <a:lstStyle/>
            <a:p>
              <a:pPr algn="ctr">
                <a:lnSpc>
                  <a:spcPts val="9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5497D"/>
                </a:buClr>
                <a:buSzPct val="100000"/>
              </a:pPr>
              <a:endParaRPr lang="es-ES" sz="1400" b="1" kern="0" dirty="0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7" name="77 Rectángulo"/>
            <p:cNvSpPr/>
            <p:nvPr>
              <p:custDataLst>
                <p:tags r:id="rId6"/>
              </p:custDataLst>
            </p:nvPr>
          </p:nvSpPr>
          <p:spPr bwMode="gray">
            <a:xfrm>
              <a:off x="2196996" y="5191713"/>
              <a:ext cx="8525669" cy="494426"/>
            </a:xfrm>
            <a:prstGeom prst="roundRect">
              <a:avLst>
                <a:gd name="adj" fmla="val 8653"/>
              </a:avLst>
            </a:prstGeom>
            <a:noFill/>
            <a:ln>
              <a:noFill/>
              <a:prstDash val="soli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>
                      <a:alpha val="0"/>
                    </a:srgbClr>
                  </a:solidFill>
                </a14:hiddenFill>
              </a:ext>
            </a:extLst>
          </p:spPr>
          <p:txBody>
            <a:bodyPr wrap="square" lIns="54000" tIns="54000" rIns="54000" bIns="54000" anchor="ctr" anchorCtr="0">
              <a:noAutofit/>
            </a:bodyPr>
            <a:lstStyle/>
            <a:p>
              <a:pPr>
                <a:lnSpc>
                  <a:spcPts val="1875"/>
                </a:lnSpc>
                <a:spcAft>
                  <a:spcPts val="450"/>
                </a:spcAft>
              </a:pPr>
              <a:r>
                <a:rPr lang="en-US" sz="1400" b="1" dirty="0">
                  <a:solidFill>
                    <a:schemeClr val="bg1"/>
                  </a:solidFill>
                </a:rPr>
                <a:t>Anticipation: Bringing value to the 5G ecosystem</a:t>
              </a:r>
            </a:p>
          </p:txBody>
        </p:sp>
        <p:sp>
          <p:nvSpPr>
            <p:cNvPr id="68" name="TextBox 59"/>
            <p:cNvSpPr txBox="1"/>
            <p:nvPr/>
          </p:nvSpPr>
          <p:spPr>
            <a:xfrm>
              <a:off x="2207030" y="5488127"/>
              <a:ext cx="5586799" cy="307777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es-ES" sz="1400" dirty="0">
                  <a:solidFill>
                    <a:schemeClr val="bg1"/>
                  </a:solidFill>
                </a:rPr>
                <a:t>Know-how in </a:t>
              </a:r>
              <a:r>
                <a:rPr lang="es-ES" sz="1400" dirty="0" err="1">
                  <a:solidFill>
                    <a:schemeClr val="bg1"/>
                  </a:solidFill>
                </a:rPr>
                <a:t>small</a:t>
              </a:r>
              <a:r>
                <a:rPr lang="es-ES" sz="1400" dirty="0">
                  <a:solidFill>
                    <a:schemeClr val="bg1"/>
                  </a:solidFill>
                </a:rPr>
                <a:t> </a:t>
              </a:r>
              <a:r>
                <a:rPr lang="es-ES" sz="1400" dirty="0" err="1">
                  <a:solidFill>
                    <a:schemeClr val="bg1"/>
                  </a:solidFill>
                </a:rPr>
                <a:t>cells</a:t>
              </a:r>
              <a:r>
                <a:rPr lang="es-ES" sz="1400" dirty="0">
                  <a:solidFill>
                    <a:schemeClr val="bg1"/>
                  </a:solidFill>
                </a:rPr>
                <a:t>, </a:t>
              </a:r>
              <a:r>
                <a:rPr lang="es-ES" sz="1400" dirty="0" err="1">
                  <a:solidFill>
                    <a:schemeClr val="bg1"/>
                  </a:solidFill>
                </a:rPr>
                <a:t>indoor</a:t>
              </a:r>
              <a:r>
                <a:rPr lang="es-ES" sz="1400" dirty="0">
                  <a:solidFill>
                    <a:schemeClr val="bg1"/>
                  </a:solidFill>
                </a:rPr>
                <a:t> </a:t>
              </a:r>
              <a:r>
                <a:rPr lang="es-ES" sz="1400" dirty="0" err="1">
                  <a:solidFill>
                    <a:schemeClr val="bg1"/>
                  </a:solidFill>
                </a:rPr>
                <a:t>systems</a:t>
              </a:r>
              <a:r>
                <a:rPr lang="es-ES" sz="1400" dirty="0">
                  <a:solidFill>
                    <a:schemeClr val="bg1"/>
                  </a:solidFill>
                </a:rPr>
                <a:t>, FTTA, </a:t>
              </a:r>
              <a:r>
                <a:rPr lang="es-ES" sz="1400" dirty="0" err="1">
                  <a:solidFill>
                    <a:schemeClr val="bg1"/>
                  </a:solidFill>
                </a:rPr>
                <a:t>Edge</a:t>
              </a:r>
              <a:r>
                <a:rPr lang="es-ES" sz="1400" dirty="0">
                  <a:solidFill>
                    <a:schemeClr val="bg1"/>
                  </a:solidFill>
                </a:rPr>
                <a:t> Computing</a:t>
              </a:r>
            </a:p>
          </p:txBody>
        </p:sp>
      </p:grpSp>
      <p:sp>
        <p:nvSpPr>
          <p:cNvPr id="49" name="77 Rectángulo"/>
          <p:cNvSpPr/>
          <p:nvPr>
            <p:custDataLst>
              <p:tags r:id="rId4"/>
            </p:custDataLst>
          </p:nvPr>
        </p:nvSpPr>
        <p:spPr bwMode="gray">
          <a:xfrm>
            <a:off x="1619218" y="918889"/>
            <a:ext cx="6547508" cy="423193"/>
          </a:xfrm>
          <a:prstGeom prst="roundRect">
            <a:avLst>
              <a:gd name="adj" fmla="val 8653"/>
            </a:avLst>
          </a:prstGeom>
          <a:noFill/>
          <a:ln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wrap="square" lIns="54000" tIns="54000" rIns="54000" bIns="54000" anchor="ctr" anchorCtr="0">
            <a:noAutofit/>
          </a:bodyPr>
          <a:lstStyle/>
          <a:p>
            <a:pPr>
              <a:lnSpc>
                <a:spcPts val="1875"/>
              </a:lnSpc>
              <a:spcAft>
                <a:spcPts val="450"/>
              </a:spcAft>
            </a:pPr>
            <a:r>
              <a:rPr lang="en-US" sz="1400" b="1" dirty="0">
                <a:solidFill>
                  <a:schemeClr val="bg1"/>
                </a:solidFill>
              </a:rPr>
              <a:t>Innovation, entrepreneurial culture and leadership</a:t>
            </a:r>
          </a:p>
        </p:txBody>
      </p:sp>
      <p:sp>
        <p:nvSpPr>
          <p:cNvPr id="69" name="Rectangle 40"/>
          <p:cNvSpPr/>
          <p:nvPr/>
        </p:nvSpPr>
        <p:spPr>
          <a:xfrm>
            <a:off x="2186571" y="2818989"/>
            <a:ext cx="5690708" cy="638600"/>
          </a:xfrm>
          <a:prstGeom prst="rect">
            <a:avLst/>
          </a:prstGeom>
          <a:gradFill flip="none" rotWithShape="1">
            <a:gsLst>
              <a:gs pos="5000">
                <a:schemeClr val="bg1"/>
              </a:gs>
              <a:gs pos="21000">
                <a:srgbClr val="334350">
                  <a:alpha val="86000"/>
                </a:srgbClr>
              </a:gs>
              <a:gs pos="100000">
                <a:srgbClr val="334350"/>
              </a:gs>
            </a:gsLst>
            <a:lin ang="16200000" scaled="1"/>
            <a:tileRect/>
          </a:gradFill>
          <a:ln w="12700">
            <a:noFill/>
            <a:prstDash val="solid"/>
          </a:ln>
        </p:spPr>
        <p:txBody>
          <a:bodyPr wrap="square" lIns="54000" tIns="54000" rIns="54000" bIns="54000" rtlCol="0" anchor="ctr" anchorCtr="0">
            <a:noAutofit/>
          </a:bodyPr>
          <a:lstStyle/>
          <a:p>
            <a:pPr algn="ctr">
              <a:lnSpc>
                <a:spcPts val="900"/>
              </a:lnSpc>
              <a:spcBef>
                <a:spcPts val="300"/>
              </a:spcBef>
              <a:spcAft>
                <a:spcPts val="300"/>
              </a:spcAft>
              <a:buClr>
                <a:srgbClr val="15497D"/>
              </a:buClr>
              <a:buSzPct val="100000"/>
            </a:pPr>
            <a:endParaRPr lang="es-ES" sz="1400" b="1" kern="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2" name="77 Rectángulo"/>
          <p:cNvSpPr/>
          <p:nvPr>
            <p:custDataLst>
              <p:tags r:id="rId5"/>
            </p:custDataLst>
          </p:nvPr>
        </p:nvSpPr>
        <p:spPr bwMode="gray">
          <a:xfrm>
            <a:off x="2370003" y="2853626"/>
            <a:ext cx="8525669" cy="494426"/>
          </a:xfrm>
          <a:prstGeom prst="roundRect">
            <a:avLst>
              <a:gd name="adj" fmla="val 8653"/>
            </a:avLst>
          </a:prstGeom>
          <a:noFill/>
          <a:ln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wrap="square" lIns="54000" tIns="54000" rIns="54000" bIns="54000" anchor="ctr" anchorCtr="0">
            <a:noAutofit/>
          </a:bodyPr>
          <a:lstStyle/>
          <a:p>
            <a:pPr>
              <a:lnSpc>
                <a:spcPts val="1875"/>
              </a:lnSpc>
              <a:spcAft>
                <a:spcPts val="450"/>
              </a:spcAft>
            </a:pPr>
            <a:r>
              <a:rPr lang="en-US" sz="1400" b="1" dirty="0">
                <a:solidFill>
                  <a:schemeClr val="bg1"/>
                </a:solidFill>
              </a:rPr>
              <a:t>Industrial model and long-term commitment with our customers</a:t>
            </a:r>
          </a:p>
        </p:txBody>
      </p:sp>
      <p:sp>
        <p:nvSpPr>
          <p:cNvPr id="25" name="Rectángulo 24"/>
          <p:cNvSpPr/>
          <p:nvPr/>
        </p:nvSpPr>
        <p:spPr>
          <a:xfrm>
            <a:off x="8701021" y="4993556"/>
            <a:ext cx="261611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eaLnBrk="0" hangingPunct="0">
              <a:spcBef>
                <a:spcPct val="0"/>
              </a:spcBef>
            </a:pPr>
            <a:r>
              <a:rPr lang="en-US" sz="600" dirty="0">
                <a:solidFill>
                  <a:schemeClr val="bg1"/>
                </a:solidFill>
              </a:rPr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27454978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NO VAL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hVldpNQUOYR.LiO.E0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LAGNAME" val="FLAGNAM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LAGNAME" val="FLAGNAM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NO VAL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NO VAL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NO VAL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NO VAL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NO VALUE"/>
</p:tagLst>
</file>

<file path=ppt/theme/theme1.xml><?xml version="1.0" encoding="utf-8"?>
<a:theme xmlns:a="http://schemas.openxmlformats.org/drawingml/2006/main" name="Portadas-Portadillas">
  <a:themeElements>
    <a:clrScheme name="Cellnex">
      <a:dk1>
        <a:srgbClr val="334350"/>
      </a:dk1>
      <a:lt1>
        <a:sysClr val="window" lastClr="FFFFFF"/>
      </a:lt1>
      <a:dk2>
        <a:srgbClr val="334350"/>
      </a:dk2>
      <a:lt2>
        <a:srgbClr val="FFFFFF"/>
      </a:lt2>
      <a:accent1>
        <a:srgbClr val="334350"/>
      </a:accent1>
      <a:accent2>
        <a:srgbClr val="118897"/>
      </a:accent2>
      <a:accent3>
        <a:srgbClr val="334350"/>
      </a:accent3>
      <a:accent4>
        <a:srgbClr val="539A0B"/>
      </a:accent4>
      <a:accent5>
        <a:srgbClr val="118897"/>
      </a:accent5>
      <a:accent6>
        <a:srgbClr val="539A0B"/>
      </a:accent6>
      <a:hlink>
        <a:srgbClr val="334350"/>
      </a:hlink>
      <a:folHlink>
        <a:srgbClr val="33435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lantilla Base Cellnex 16-9 ENG.pptx" id="{99345418-D28A-47CD-BB79-7D0CCCB31A84}" vid="{748070C5-5DB8-4B1B-A768-5D579208C854}"/>
    </a:ext>
  </a:extLst>
</a:theme>
</file>

<file path=ppt/theme/theme2.xml><?xml version="1.0" encoding="utf-8"?>
<a:theme xmlns:a="http://schemas.openxmlformats.org/drawingml/2006/main" name="Tema de Office">
  <a:themeElements>
    <a:clrScheme name="Abertis">
      <a:dk1>
        <a:srgbClr val="5A6E74"/>
      </a:dk1>
      <a:lt1>
        <a:sysClr val="window" lastClr="FFFFFF"/>
      </a:lt1>
      <a:dk2>
        <a:srgbClr val="5A6E74"/>
      </a:dk2>
      <a:lt2>
        <a:srgbClr val="FFFFFF"/>
      </a:lt2>
      <a:accent1>
        <a:srgbClr val="5A6E74"/>
      </a:accent1>
      <a:accent2>
        <a:srgbClr val="B0B9BC"/>
      </a:accent2>
      <a:accent3>
        <a:srgbClr val="003656"/>
      </a:accent3>
      <a:accent4>
        <a:srgbClr val="008080"/>
      </a:accent4>
      <a:accent5>
        <a:srgbClr val="3FA3D7"/>
      </a:accent5>
      <a:accent6>
        <a:srgbClr val="79242F"/>
      </a:accent6>
      <a:hlink>
        <a:srgbClr val="5A6E74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Abertis">
      <a:dk1>
        <a:srgbClr val="5A6E74"/>
      </a:dk1>
      <a:lt1>
        <a:sysClr val="window" lastClr="FFFFFF"/>
      </a:lt1>
      <a:dk2>
        <a:srgbClr val="5A6E74"/>
      </a:dk2>
      <a:lt2>
        <a:srgbClr val="FFFFFF"/>
      </a:lt2>
      <a:accent1>
        <a:srgbClr val="5A6E74"/>
      </a:accent1>
      <a:accent2>
        <a:srgbClr val="B0B9BC"/>
      </a:accent2>
      <a:accent3>
        <a:srgbClr val="003656"/>
      </a:accent3>
      <a:accent4>
        <a:srgbClr val="008080"/>
      </a:accent4>
      <a:accent5>
        <a:srgbClr val="3FA3D7"/>
      </a:accent5>
      <a:accent6>
        <a:srgbClr val="79242F"/>
      </a:accent6>
      <a:hlink>
        <a:srgbClr val="5A6E74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6E039188BE2C4D99038EC55535F909" ma:contentTypeVersion="13" ma:contentTypeDescription="Create a new document." ma:contentTypeScope="" ma:versionID="82ecb1c1da244d57ee4fecebac2a0423">
  <xsd:schema xmlns:xsd="http://www.w3.org/2001/XMLSchema" xmlns:xs="http://www.w3.org/2001/XMLSchema" xmlns:p="http://schemas.microsoft.com/office/2006/metadata/properties" xmlns:ns3="b0690707-a97b-4446-b21e-defb1da51076" xmlns:ns4="9e27e0b9-ece0-40b0-9e54-ece3a3064455" targetNamespace="http://schemas.microsoft.com/office/2006/metadata/properties" ma:root="true" ma:fieldsID="29983a8658e0e61aca0ec020fa18d503" ns3:_="" ns4:_="">
    <xsd:import namespace="b0690707-a97b-4446-b21e-defb1da51076"/>
    <xsd:import namespace="9e27e0b9-ece0-40b0-9e54-ece3a306445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690707-a97b-4446-b21e-defb1da510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27e0b9-ece0-40b0-9e54-ece3a3064455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467EEFD-0C67-4E42-AF40-80797BBB6B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DA6F73F-DF65-42AD-A40E-2A1484A65FA3}">
  <ds:schemaRefs>
    <ds:schemaRef ds:uri="http://www.w3.org/XML/1998/namespace"/>
    <ds:schemaRef ds:uri="http://purl.org/dc/elements/1.1/"/>
    <ds:schemaRef ds:uri="b0690707-a97b-4446-b21e-defb1da51076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9e27e0b9-ece0-40b0-9e54-ece3a3064455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62110CF-84D0-422C-B895-8FF235B782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690707-a97b-4446-b21e-defb1da51076"/>
    <ds:schemaRef ds:uri="9e27e0b9-ece0-40b0-9e54-ece3a306445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lantilla Base Cellnex 16-9 ENG</Template>
  <TotalTime>0</TotalTime>
  <Words>309</Words>
  <Application>Microsoft Office PowerPoint</Application>
  <PresentationFormat>Presentación en pantalla (16:9)</PresentationFormat>
  <Paragraphs>100</Paragraphs>
  <Slides>5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3" baseType="lpstr">
      <vt:lpstr>Arial</vt:lpstr>
      <vt:lpstr>Calibri</vt:lpstr>
      <vt:lpstr>Courier New</vt:lpstr>
      <vt:lpstr>Lucida Grande</vt:lpstr>
      <vt:lpstr>Verdana</vt:lpstr>
      <vt:lpstr>Wingdings</vt:lpstr>
      <vt:lpstr>Portadas-Portadillas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Manager/>
  <Company>Cellnex Teleco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subject/>
  <dc:creator>Ungo De Velasco Bou, Cristina</dc:creator>
  <cp:keywords/>
  <dc:description/>
  <cp:lastModifiedBy>JMM</cp:lastModifiedBy>
  <cp:revision>145</cp:revision>
  <cp:lastPrinted>2022-04-05T08:28:50Z</cp:lastPrinted>
  <dcterms:created xsi:type="dcterms:W3CDTF">2020-02-19T16:55:19Z</dcterms:created>
  <dcterms:modified xsi:type="dcterms:W3CDTF">2022-04-20T07:56:5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6E039188BE2C4D99038EC55535F909</vt:lpwstr>
  </property>
  <property fmtid="{D5CDD505-2E9C-101B-9397-08002B2CF9AE}" pid="3" name="MSIP_Label_ab904b49-3f4d-4965-871f-2e2fd7247f94_Enabled">
    <vt:lpwstr>True</vt:lpwstr>
  </property>
  <property fmtid="{D5CDD505-2E9C-101B-9397-08002B2CF9AE}" pid="4" name="MSIP_Label_ab904b49-3f4d-4965-871f-2e2fd7247f94_SiteId">
    <vt:lpwstr>05088b6e-1d96-4f6b-8918-48957eca4f00</vt:lpwstr>
  </property>
  <property fmtid="{D5CDD505-2E9C-101B-9397-08002B2CF9AE}" pid="5" name="MSIP_Label_ab904b49-3f4d-4965-871f-2e2fd7247f94_Owner">
    <vt:lpwstr>cristina.ungo.velasco@cellnextelecom.com</vt:lpwstr>
  </property>
  <property fmtid="{D5CDD505-2E9C-101B-9397-08002B2CF9AE}" pid="6" name="MSIP_Label_ab904b49-3f4d-4965-871f-2e2fd7247f94_SetDate">
    <vt:lpwstr>2021-04-09T08:26:21.1001714Z</vt:lpwstr>
  </property>
  <property fmtid="{D5CDD505-2E9C-101B-9397-08002B2CF9AE}" pid="7" name="MSIP_Label_ab904b49-3f4d-4965-871f-2e2fd7247f94_Name">
    <vt:lpwstr>Internal</vt:lpwstr>
  </property>
  <property fmtid="{D5CDD505-2E9C-101B-9397-08002B2CF9AE}" pid="8" name="MSIP_Label_ab904b49-3f4d-4965-871f-2e2fd7247f94_Application">
    <vt:lpwstr>Microsoft Azure Information Protection</vt:lpwstr>
  </property>
  <property fmtid="{D5CDD505-2E9C-101B-9397-08002B2CF9AE}" pid="9" name="MSIP_Label_ab904b49-3f4d-4965-871f-2e2fd7247f94_Extended_MSFT_Method">
    <vt:lpwstr>Automatic</vt:lpwstr>
  </property>
  <property fmtid="{D5CDD505-2E9C-101B-9397-08002B2CF9AE}" pid="10" name="Sensitivity">
    <vt:lpwstr>Internal</vt:lpwstr>
  </property>
</Properties>
</file>